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40.xml" ContentType="application/vnd.openxmlformats-officedocument.presentationml.tags+xml"/>
  <Override PartName="/ppt/diagrams/layout1.xml" ContentType="application/vnd.openxmlformats-officedocument.drawingml.diagram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Override PartName="/ppt/tags/tag39.xml" ContentType="application/vnd.openxmlformats-officedocument.presentationml.tags+xml"/>
  <Override PartName="/ppt/diagrams/quickStyle1.xml" ContentType="application/vnd.openxmlformats-officedocument.drawingml.diagramStyle+xml"/>
  <Default Extension="jpeg" ContentType="image/jpeg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319" r:id="rId1"/>
  </p:sldMasterIdLst>
  <p:notesMasterIdLst>
    <p:notesMasterId r:id="rId13"/>
  </p:notesMasterIdLst>
  <p:sldIdLst>
    <p:sldId id="306" r:id="rId2"/>
    <p:sldId id="302" r:id="rId3"/>
    <p:sldId id="322" r:id="rId4"/>
    <p:sldId id="321" r:id="rId5"/>
    <p:sldId id="286" r:id="rId6"/>
    <p:sldId id="312" r:id="rId7"/>
    <p:sldId id="323" r:id="rId8"/>
    <p:sldId id="324" r:id="rId9"/>
    <p:sldId id="325" r:id="rId10"/>
    <p:sldId id="326" r:id="rId11"/>
    <p:sldId id="320" r:id="rId12"/>
  </p:sldIdLst>
  <p:sldSz cx="12192000" cy="6858000"/>
  <p:notesSz cx="9926638" cy="6797675"/>
  <p:custDataLst>
    <p:tags r:id="rId14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525" userDrawn="1">
          <p15:clr>
            <a:srgbClr val="A4A3A4"/>
          </p15:clr>
        </p15:guide>
        <p15:guide id="2" pos="546" userDrawn="1">
          <p15:clr>
            <a:srgbClr val="A4A3A4"/>
          </p15:clr>
        </p15:guide>
        <p15:guide id="3" orient="horz" pos="436" userDrawn="1">
          <p15:clr>
            <a:srgbClr val="A4A3A4"/>
          </p15:clr>
        </p15:guide>
        <p15:guide id="4" orient="horz" pos="1389" userDrawn="1">
          <p15:clr>
            <a:srgbClr val="A4A3A4"/>
          </p15:clr>
        </p15:guide>
        <p15:guide id="5" pos="411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лександр Морозов" initials="АМ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FFFFF"/>
    <a:srgbClr val="BFBFBF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96" autoAdjust="0"/>
    <p:restoredTop sz="94660"/>
  </p:normalViewPr>
  <p:slideViewPr>
    <p:cSldViewPr>
      <p:cViewPr>
        <p:scale>
          <a:sx n="110" d="100"/>
          <a:sy n="110" d="100"/>
        </p:scale>
        <p:origin x="-720" y="-180"/>
      </p:cViewPr>
      <p:guideLst>
        <p:guide orient="horz" pos="1525"/>
        <p:guide orient="horz" pos="436"/>
        <p:guide orient="horz" pos="1389"/>
        <p:guide pos="546"/>
        <p:guide pos="4119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738CE7F-9246-493F-81FC-4CFA130F10DD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E4348BE-A076-40CC-8434-3FD66A6FB946}">
      <dgm:prSet phldrT="[Текст]" custT="1"/>
      <dgm:spPr>
        <a:solidFill>
          <a:schemeClr val="accent4"/>
        </a:solidFill>
      </dgm:spPr>
      <dgm:t>
        <a:bodyPr/>
        <a:lstStyle/>
        <a:p>
          <a:r>
            <a:rPr lang="ru-RU" sz="1600" b="1" dirty="0" smtClean="0"/>
            <a:t>Проект Концепции системы управления рисками, внутреннего контроля и внутреннего аудита в секторе государственного управления</a:t>
          </a:r>
          <a:endParaRPr lang="ru-RU" sz="1600" b="1" dirty="0">
            <a:solidFill>
              <a:schemeClr val="accent5"/>
            </a:solidFill>
          </a:endParaRPr>
        </a:p>
      </dgm:t>
    </dgm:pt>
    <dgm:pt modelId="{3293ECF0-6312-4E5C-A1D2-D3AE8E7D0B85}" type="parTrans" cxnId="{C63A9C40-1273-4140-803D-36EFB7793738}">
      <dgm:prSet/>
      <dgm:spPr/>
      <dgm:t>
        <a:bodyPr/>
        <a:lstStyle/>
        <a:p>
          <a:endParaRPr lang="ru-RU" sz="1200"/>
        </a:p>
      </dgm:t>
    </dgm:pt>
    <dgm:pt modelId="{E70E869C-9014-451A-BF66-B9D731CC738A}" type="sibTrans" cxnId="{C63A9C40-1273-4140-803D-36EFB7793738}">
      <dgm:prSet/>
      <dgm:spPr/>
      <dgm:t>
        <a:bodyPr/>
        <a:lstStyle/>
        <a:p>
          <a:endParaRPr lang="ru-RU" sz="1200"/>
        </a:p>
      </dgm:t>
    </dgm:pt>
    <dgm:pt modelId="{793ABA90-473B-4792-A1F0-9AC01C347B93}">
      <dgm:prSet phldrT="[Текст]" custT="1"/>
      <dgm:spPr>
        <a:solidFill>
          <a:schemeClr val="bg1">
            <a:lumMod val="75000"/>
            <a:alpha val="50000"/>
          </a:schemeClr>
        </a:solidFill>
      </dgm:spPr>
      <dgm:t>
        <a:bodyPr/>
        <a:lstStyle/>
        <a:p>
          <a:r>
            <a:rPr lang="ru-RU" sz="1600" b="1" dirty="0" smtClean="0">
              <a:solidFill>
                <a:schemeClr val="accent3">
                  <a:lumMod val="50000"/>
                </a:schemeClr>
              </a:solidFill>
            </a:rPr>
            <a:t>Проект Методических рекомендаций по организации системы управления рисками и внутреннего контроля</a:t>
          </a:r>
          <a:endParaRPr lang="ru-RU" sz="1600" b="1" dirty="0">
            <a:solidFill>
              <a:schemeClr val="accent3">
                <a:lumMod val="50000"/>
              </a:schemeClr>
            </a:solidFill>
          </a:endParaRPr>
        </a:p>
      </dgm:t>
    </dgm:pt>
    <dgm:pt modelId="{A6E144A0-3206-49A1-A42A-A839F5E71A3D}" type="parTrans" cxnId="{3809263D-A9E9-4DDB-9A46-AD12304BA596}">
      <dgm:prSet/>
      <dgm:spPr>
        <a:ln w="12700">
          <a:solidFill>
            <a:schemeClr val="bg1">
              <a:lumMod val="50000"/>
            </a:schemeClr>
          </a:solidFill>
        </a:ln>
      </dgm:spPr>
      <dgm:t>
        <a:bodyPr/>
        <a:lstStyle/>
        <a:p>
          <a:endParaRPr lang="ru-RU" sz="1200"/>
        </a:p>
      </dgm:t>
    </dgm:pt>
    <dgm:pt modelId="{189F0465-002D-4F5B-90BD-9F2DEA21F2B5}" type="sibTrans" cxnId="{3809263D-A9E9-4DDB-9A46-AD12304BA596}">
      <dgm:prSet/>
      <dgm:spPr/>
      <dgm:t>
        <a:bodyPr/>
        <a:lstStyle/>
        <a:p>
          <a:endParaRPr lang="ru-RU" sz="1200"/>
        </a:p>
      </dgm:t>
    </dgm:pt>
    <dgm:pt modelId="{05E8E5C6-BD09-4A8A-9AD2-50FFD1BA0084}">
      <dgm:prSet phldrT="[Текст]" custT="1"/>
      <dgm:spPr>
        <a:solidFill>
          <a:schemeClr val="bg1">
            <a:lumMod val="75000"/>
            <a:alpha val="50000"/>
          </a:schemeClr>
        </a:solidFill>
      </dgm:spPr>
      <dgm:t>
        <a:bodyPr/>
        <a:lstStyle/>
        <a:p>
          <a:r>
            <a:rPr lang="ru-RU" sz="1600" b="1" dirty="0" smtClean="0">
              <a:solidFill>
                <a:schemeClr val="accent3">
                  <a:lumMod val="50000"/>
                </a:schemeClr>
              </a:solidFill>
            </a:rPr>
            <a:t>Проект Методических рекомендаций по организации внутреннего аудита</a:t>
          </a:r>
          <a:endParaRPr lang="ru-RU" sz="1600" b="1" dirty="0">
            <a:solidFill>
              <a:schemeClr val="accent3">
                <a:lumMod val="50000"/>
              </a:schemeClr>
            </a:solidFill>
          </a:endParaRPr>
        </a:p>
      </dgm:t>
    </dgm:pt>
    <dgm:pt modelId="{1A91F988-A717-4BA8-AB05-BAF9A4D4A62A}" type="parTrans" cxnId="{7F9DB156-DB92-463D-8F2D-F5A2678E64F9}">
      <dgm:prSet/>
      <dgm:spPr>
        <a:ln w="9525">
          <a:solidFill>
            <a:schemeClr val="bg1">
              <a:lumMod val="50000"/>
            </a:schemeClr>
          </a:solidFill>
        </a:ln>
      </dgm:spPr>
      <dgm:t>
        <a:bodyPr/>
        <a:lstStyle/>
        <a:p>
          <a:endParaRPr lang="ru-RU" sz="1200"/>
        </a:p>
      </dgm:t>
    </dgm:pt>
    <dgm:pt modelId="{2B3C93DB-ABCD-4D6B-B80B-26F578F44D07}" type="sibTrans" cxnId="{7F9DB156-DB92-463D-8F2D-F5A2678E64F9}">
      <dgm:prSet/>
      <dgm:spPr/>
      <dgm:t>
        <a:bodyPr/>
        <a:lstStyle/>
        <a:p>
          <a:endParaRPr lang="ru-RU" sz="1200"/>
        </a:p>
      </dgm:t>
    </dgm:pt>
    <dgm:pt modelId="{ED1CE765-554E-4B25-BE60-ED536B352E19}">
      <dgm:prSet phldrT="[Текст]" custT="1"/>
      <dgm:spPr>
        <a:solidFill>
          <a:schemeClr val="bg1">
            <a:lumMod val="75000"/>
            <a:alpha val="50000"/>
          </a:schemeClr>
        </a:solidFill>
      </dgm:spPr>
      <dgm:t>
        <a:bodyPr/>
        <a:lstStyle/>
        <a:p>
          <a:r>
            <a:rPr lang="ru-RU" sz="1600" b="1" dirty="0" smtClean="0">
              <a:solidFill>
                <a:schemeClr val="accent3">
                  <a:lumMod val="50000"/>
                </a:schemeClr>
              </a:solidFill>
            </a:rPr>
            <a:t>Проект Системы оценки качества организации финансового менеджмента главных администраторов средств федерального бюджета</a:t>
          </a:r>
          <a:endParaRPr lang="ru-RU" sz="1600" b="1" dirty="0">
            <a:solidFill>
              <a:schemeClr val="accent3">
                <a:lumMod val="50000"/>
              </a:schemeClr>
            </a:solidFill>
          </a:endParaRPr>
        </a:p>
      </dgm:t>
    </dgm:pt>
    <dgm:pt modelId="{6C08F01F-158E-44FE-91C8-272E7B46D496}" type="parTrans" cxnId="{DD565AA2-2E0E-4985-AAEF-934913ED9CD5}">
      <dgm:prSet/>
      <dgm:spPr>
        <a:ln w="9525">
          <a:solidFill>
            <a:schemeClr val="bg1">
              <a:lumMod val="50000"/>
            </a:schemeClr>
          </a:solidFill>
        </a:ln>
      </dgm:spPr>
      <dgm:t>
        <a:bodyPr/>
        <a:lstStyle/>
        <a:p>
          <a:endParaRPr lang="ru-RU"/>
        </a:p>
      </dgm:t>
    </dgm:pt>
    <dgm:pt modelId="{98D082D3-49D3-4D59-A27F-56786889C0FF}" type="sibTrans" cxnId="{DD565AA2-2E0E-4985-AAEF-934913ED9CD5}">
      <dgm:prSet/>
      <dgm:spPr/>
      <dgm:t>
        <a:bodyPr/>
        <a:lstStyle/>
        <a:p>
          <a:endParaRPr lang="ru-RU"/>
        </a:p>
      </dgm:t>
    </dgm:pt>
    <dgm:pt modelId="{7CAE810B-D76D-48D3-8864-66E05DD14BD0}" type="pres">
      <dgm:prSet presAssocID="{5738CE7F-9246-493F-81FC-4CFA130F10DD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4136ED91-281C-4E13-8F13-C4B83BF1BB1D}" type="pres">
      <dgm:prSet presAssocID="{8E4348BE-A076-40CC-8434-3FD66A6FB946}" presName="hierRoot1" presStyleCnt="0">
        <dgm:presLayoutVars>
          <dgm:hierBranch val="init"/>
        </dgm:presLayoutVars>
      </dgm:prSet>
      <dgm:spPr/>
    </dgm:pt>
    <dgm:pt modelId="{266C0D91-B501-472C-BD10-4C2AF5587112}" type="pres">
      <dgm:prSet presAssocID="{8E4348BE-A076-40CC-8434-3FD66A6FB946}" presName="rootComposite1" presStyleCnt="0"/>
      <dgm:spPr/>
    </dgm:pt>
    <dgm:pt modelId="{AFEFBE3F-2944-49BF-BC06-B786B040159D}" type="pres">
      <dgm:prSet presAssocID="{8E4348BE-A076-40CC-8434-3FD66A6FB946}" presName="rootText1" presStyleLbl="node0" presStyleIdx="0" presStyleCnt="1" custScaleX="260185" custScaleY="107328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F01B5906-C573-4454-8482-9F66AA00CBE4}" type="pres">
      <dgm:prSet presAssocID="{8E4348BE-A076-40CC-8434-3FD66A6FB946}" presName="rootConnector1" presStyleLbl="node1" presStyleIdx="0" presStyleCnt="0"/>
      <dgm:spPr/>
      <dgm:t>
        <a:bodyPr/>
        <a:lstStyle/>
        <a:p>
          <a:endParaRPr lang="ru-RU"/>
        </a:p>
      </dgm:t>
    </dgm:pt>
    <dgm:pt modelId="{E34F3DE5-8A93-4160-810E-3F2410640520}" type="pres">
      <dgm:prSet presAssocID="{8E4348BE-A076-40CC-8434-3FD66A6FB946}" presName="hierChild2" presStyleCnt="0"/>
      <dgm:spPr/>
    </dgm:pt>
    <dgm:pt modelId="{F2843318-0925-49CC-8B7C-71A7D30F1C3B}" type="pres">
      <dgm:prSet presAssocID="{A6E144A0-3206-49A1-A42A-A839F5E71A3D}" presName="Name37" presStyleLbl="parChTrans1D2" presStyleIdx="0" presStyleCnt="3"/>
      <dgm:spPr/>
      <dgm:t>
        <a:bodyPr/>
        <a:lstStyle/>
        <a:p>
          <a:endParaRPr lang="ru-RU"/>
        </a:p>
      </dgm:t>
    </dgm:pt>
    <dgm:pt modelId="{58C84D3B-A241-4CDA-8EE3-7A67C671D30B}" type="pres">
      <dgm:prSet presAssocID="{793ABA90-473B-4792-A1F0-9AC01C347B93}" presName="hierRoot2" presStyleCnt="0">
        <dgm:presLayoutVars>
          <dgm:hierBranch val="init"/>
        </dgm:presLayoutVars>
      </dgm:prSet>
      <dgm:spPr/>
    </dgm:pt>
    <dgm:pt modelId="{2747F3C5-3C03-4788-A9D3-C9DE52A8EE76}" type="pres">
      <dgm:prSet presAssocID="{793ABA90-473B-4792-A1F0-9AC01C347B93}" presName="rootComposite" presStyleCnt="0"/>
      <dgm:spPr/>
    </dgm:pt>
    <dgm:pt modelId="{0032C439-5A47-452F-9316-EFF116F617BC}" type="pres">
      <dgm:prSet presAssocID="{793ABA90-473B-4792-A1F0-9AC01C347B93}" presName="rootText" presStyleLbl="node2" presStyleIdx="0" presStyleCnt="3" custScaleX="168030" custScaleY="160852" custLinFactX="-27360" custLinFactNeighborX="-100000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92262C60-71E6-4072-B411-A68D88548B36}" type="pres">
      <dgm:prSet presAssocID="{793ABA90-473B-4792-A1F0-9AC01C347B93}" presName="rootConnector" presStyleLbl="node2" presStyleIdx="0" presStyleCnt="3"/>
      <dgm:spPr/>
      <dgm:t>
        <a:bodyPr/>
        <a:lstStyle/>
        <a:p>
          <a:endParaRPr lang="ru-RU"/>
        </a:p>
      </dgm:t>
    </dgm:pt>
    <dgm:pt modelId="{7FB00004-98B2-4F5B-BE50-E92C3E723BE5}" type="pres">
      <dgm:prSet presAssocID="{793ABA90-473B-4792-A1F0-9AC01C347B93}" presName="hierChild4" presStyleCnt="0"/>
      <dgm:spPr/>
    </dgm:pt>
    <dgm:pt modelId="{C0E4FFA5-5ED9-49CD-B8C7-9B0EA692CC3B}" type="pres">
      <dgm:prSet presAssocID="{793ABA90-473B-4792-A1F0-9AC01C347B93}" presName="hierChild5" presStyleCnt="0"/>
      <dgm:spPr/>
    </dgm:pt>
    <dgm:pt modelId="{AE04EFDD-FA2F-4B00-A805-7FE9B00B115A}" type="pres">
      <dgm:prSet presAssocID="{1A91F988-A717-4BA8-AB05-BAF9A4D4A62A}" presName="Name37" presStyleLbl="parChTrans1D2" presStyleIdx="1" presStyleCnt="3"/>
      <dgm:spPr/>
      <dgm:t>
        <a:bodyPr/>
        <a:lstStyle/>
        <a:p>
          <a:endParaRPr lang="ru-RU"/>
        </a:p>
      </dgm:t>
    </dgm:pt>
    <dgm:pt modelId="{67738274-F9B4-4132-BA65-46B711D9F75C}" type="pres">
      <dgm:prSet presAssocID="{05E8E5C6-BD09-4A8A-9AD2-50FFD1BA0084}" presName="hierRoot2" presStyleCnt="0">
        <dgm:presLayoutVars>
          <dgm:hierBranch val="init"/>
        </dgm:presLayoutVars>
      </dgm:prSet>
      <dgm:spPr/>
    </dgm:pt>
    <dgm:pt modelId="{B3B4601C-0E53-4A55-822D-AB07C49DB9AF}" type="pres">
      <dgm:prSet presAssocID="{05E8E5C6-BD09-4A8A-9AD2-50FFD1BA0084}" presName="rootComposite" presStyleCnt="0"/>
      <dgm:spPr/>
    </dgm:pt>
    <dgm:pt modelId="{10065B10-3ED9-4926-A1CC-E35345073210}" type="pres">
      <dgm:prSet presAssocID="{05E8E5C6-BD09-4A8A-9AD2-50FFD1BA0084}" presName="rootText" presStyleLbl="node2" presStyleIdx="1" presStyleCnt="3" custScaleX="174019" custScaleY="161355" custLinFactNeighborX="4251" custLinFactNeighborY="-798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FB28727B-E6AD-4058-9FDA-1E837CF246D5}" type="pres">
      <dgm:prSet presAssocID="{05E8E5C6-BD09-4A8A-9AD2-50FFD1BA0084}" presName="rootConnector" presStyleLbl="node2" presStyleIdx="1" presStyleCnt="3"/>
      <dgm:spPr/>
      <dgm:t>
        <a:bodyPr/>
        <a:lstStyle/>
        <a:p>
          <a:endParaRPr lang="ru-RU"/>
        </a:p>
      </dgm:t>
    </dgm:pt>
    <dgm:pt modelId="{1C4A5188-6BF5-4C15-A91D-E23322E7D5AB}" type="pres">
      <dgm:prSet presAssocID="{05E8E5C6-BD09-4A8A-9AD2-50FFD1BA0084}" presName="hierChild4" presStyleCnt="0"/>
      <dgm:spPr/>
    </dgm:pt>
    <dgm:pt modelId="{A8673252-AB5B-4EF8-894B-BF67C37C629E}" type="pres">
      <dgm:prSet presAssocID="{05E8E5C6-BD09-4A8A-9AD2-50FFD1BA0084}" presName="hierChild5" presStyleCnt="0"/>
      <dgm:spPr/>
    </dgm:pt>
    <dgm:pt modelId="{B256BA07-93F9-4CDA-B505-D3F0F43D4595}" type="pres">
      <dgm:prSet presAssocID="{6C08F01F-158E-44FE-91C8-272E7B46D496}" presName="Name37" presStyleLbl="parChTrans1D2" presStyleIdx="2" presStyleCnt="3"/>
      <dgm:spPr/>
      <dgm:t>
        <a:bodyPr/>
        <a:lstStyle/>
        <a:p>
          <a:endParaRPr lang="ru-RU"/>
        </a:p>
      </dgm:t>
    </dgm:pt>
    <dgm:pt modelId="{0C076AE2-96B7-4348-A1D8-346CE417ABE3}" type="pres">
      <dgm:prSet presAssocID="{ED1CE765-554E-4B25-BE60-ED536B352E19}" presName="hierRoot2" presStyleCnt="0">
        <dgm:presLayoutVars>
          <dgm:hierBranch val="init"/>
        </dgm:presLayoutVars>
      </dgm:prSet>
      <dgm:spPr/>
    </dgm:pt>
    <dgm:pt modelId="{C72A034D-8BB3-4937-9E61-60750E9225A0}" type="pres">
      <dgm:prSet presAssocID="{ED1CE765-554E-4B25-BE60-ED536B352E19}" presName="rootComposite" presStyleCnt="0"/>
      <dgm:spPr/>
    </dgm:pt>
    <dgm:pt modelId="{0BC1DC89-D6ED-4BA2-B905-7EEAC9098813}" type="pres">
      <dgm:prSet presAssocID="{ED1CE765-554E-4B25-BE60-ED536B352E19}" presName="rootText" presStyleLbl="node2" presStyleIdx="2" presStyleCnt="3" custScaleX="177068" custScaleY="169474" custLinFactNeighborX="48998" custLinFactNeighborY="-798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6AA3CB48-2CB8-4941-8971-11539BBFE392}" type="pres">
      <dgm:prSet presAssocID="{ED1CE765-554E-4B25-BE60-ED536B352E19}" presName="rootConnector" presStyleLbl="node2" presStyleIdx="2" presStyleCnt="3"/>
      <dgm:spPr/>
      <dgm:t>
        <a:bodyPr/>
        <a:lstStyle/>
        <a:p>
          <a:endParaRPr lang="ru-RU"/>
        </a:p>
      </dgm:t>
    </dgm:pt>
    <dgm:pt modelId="{D7565FDB-31AD-4B9E-909A-254F289F8973}" type="pres">
      <dgm:prSet presAssocID="{ED1CE765-554E-4B25-BE60-ED536B352E19}" presName="hierChild4" presStyleCnt="0"/>
      <dgm:spPr/>
    </dgm:pt>
    <dgm:pt modelId="{69FB8CD2-CEBF-4DD1-9B6A-D756B9B72E28}" type="pres">
      <dgm:prSet presAssocID="{ED1CE765-554E-4B25-BE60-ED536B352E19}" presName="hierChild5" presStyleCnt="0"/>
      <dgm:spPr/>
    </dgm:pt>
    <dgm:pt modelId="{96DF71F3-84A0-4FBC-A088-9E72BB4DDEF5}" type="pres">
      <dgm:prSet presAssocID="{8E4348BE-A076-40CC-8434-3FD66A6FB946}" presName="hierChild3" presStyleCnt="0"/>
      <dgm:spPr/>
    </dgm:pt>
  </dgm:ptLst>
  <dgm:cxnLst>
    <dgm:cxn modelId="{E640B953-BF8E-4779-9A68-41C46A5FDABA}" type="presOf" srcId="{793ABA90-473B-4792-A1F0-9AC01C347B93}" destId="{92262C60-71E6-4072-B411-A68D88548B36}" srcOrd="1" destOrd="0" presId="urn:microsoft.com/office/officeart/2005/8/layout/orgChart1"/>
    <dgm:cxn modelId="{F5A17AF8-25F6-47C9-A2D6-55456C14D009}" type="presOf" srcId="{5738CE7F-9246-493F-81FC-4CFA130F10DD}" destId="{7CAE810B-D76D-48D3-8864-66E05DD14BD0}" srcOrd="0" destOrd="0" presId="urn:microsoft.com/office/officeart/2005/8/layout/orgChart1"/>
    <dgm:cxn modelId="{F281AC06-8172-4C91-B2F3-84FAB2E515D3}" type="presOf" srcId="{8E4348BE-A076-40CC-8434-3FD66A6FB946}" destId="{AFEFBE3F-2944-49BF-BC06-B786B040159D}" srcOrd="0" destOrd="0" presId="urn:microsoft.com/office/officeart/2005/8/layout/orgChart1"/>
    <dgm:cxn modelId="{91B48C3B-C967-4E25-B19C-B3C3F1E6DF2D}" type="presOf" srcId="{05E8E5C6-BD09-4A8A-9AD2-50FFD1BA0084}" destId="{FB28727B-E6AD-4058-9FDA-1E837CF246D5}" srcOrd="1" destOrd="0" presId="urn:microsoft.com/office/officeart/2005/8/layout/orgChart1"/>
    <dgm:cxn modelId="{95D931F3-45AF-4DBB-8213-8CFB449211D2}" type="presOf" srcId="{ED1CE765-554E-4B25-BE60-ED536B352E19}" destId="{6AA3CB48-2CB8-4941-8971-11539BBFE392}" srcOrd="1" destOrd="0" presId="urn:microsoft.com/office/officeart/2005/8/layout/orgChart1"/>
    <dgm:cxn modelId="{C379558A-FD49-4A33-8B63-46A06AB54DBA}" type="presOf" srcId="{1A91F988-A717-4BA8-AB05-BAF9A4D4A62A}" destId="{AE04EFDD-FA2F-4B00-A805-7FE9B00B115A}" srcOrd="0" destOrd="0" presId="urn:microsoft.com/office/officeart/2005/8/layout/orgChart1"/>
    <dgm:cxn modelId="{C63A9C40-1273-4140-803D-36EFB7793738}" srcId="{5738CE7F-9246-493F-81FC-4CFA130F10DD}" destId="{8E4348BE-A076-40CC-8434-3FD66A6FB946}" srcOrd="0" destOrd="0" parTransId="{3293ECF0-6312-4E5C-A1D2-D3AE8E7D0B85}" sibTransId="{E70E869C-9014-451A-BF66-B9D731CC738A}"/>
    <dgm:cxn modelId="{5604A2BF-8917-4DED-9C68-374805FDD5A5}" type="presOf" srcId="{A6E144A0-3206-49A1-A42A-A839F5E71A3D}" destId="{F2843318-0925-49CC-8B7C-71A7D30F1C3B}" srcOrd="0" destOrd="0" presId="urn:microsoft.com/office/officeart/2005/8/layout/orgChart1"/>
    <dgm:cxn modelId="{D9F0929E-D3EB-48F6-BC1B-B2B3B7D76DD8}" type="presOf" srcId="{ED1CE765-554E-4B25-BE60-ED536B352E19}" destId="{0BC1DC89-D6ED-4BA2-B905-7EEAC9098813}" srcOrd="0" destOrd="0" presId="urn:microsoft.com/office/officeart/2005/8/layout/orgChart1"/>
    <dgm:cxn modelId="{1ECD53E5-62C1-4F24-BFE2-DD7EF6C4BDA1}" type="presOf" srcId="{793ABA90-473B-4792-A1F0-9AC01C347B93}" destId="{0032C439-5A47-452F-9316-EFF116F617BC}" srcOrd="0" destOrd="0" presId="urn:microsoft.com/office/officeart/2005/8/layout/orgChart1"/>
    <dgm:cxn modelId="{3809263D-A9E9-4DDB-9A46-AD12304BA596}" srcId="{8E4348BE-A076-40CC-8434-3FD66A6FB946}" destId="{793ABA90-473B-4792-A1F0-9AC01C347B93}" srcOrd="0" destOrd="0" parTransId="{A6E144A0-3206-49A1-A42A-A839F5E71A3D}" sibTransId="{189F0465-002D-4F5B-90BD-9F2DEA21F2B5}"/>
    <dgm:cxn modelId="{AE0BEE20-55A5-4642-94F7-BA21D705CDAA}" type="presOf" srcId="{6C08F01F-158E-44FE-91C8-272E7B46D496}" destId="{B256BA07-93F9-4CDA-B505-D3F0F43D4595}" srcOrd="0" destOrd="0" presId="urn:microsoft.com/office/officeart/2005/8/layout/orgChart1"/>
    <dgm:cxn modelId="{2EA00677-1357-4615-8333-19A488E4C9D2}" type="presOf" srcId="{05E8E5C6-BD09-4A8A-9AD2-50FFD1BA0084}" destId="{10065B10-3ED9-4926-A1CC-E35345073210}" srcOrd="0" destOrd="0" presId="urn:microsoft.com/office/officeart/2005/8/layout/orgChart1"/>
    <dgm:cxn modelId="{62CC4C86-44AC-4DAD-85A2-F4F07CD6E423}" type="presOf" srcId="{8E4348BE-A076-40CC-8434-3FD66A6FB946}" destId="{F01B5906-C573-4454-8482-9F66AA00CBE4}" srcOrd="1" destOrd="0" presId="urn:microsoft.com/office/officeart/2005/8/layout/orgChart1"/>
    <dgm:cxn modelId="{7F9DB156-DB92-463D-8F2D-F5A2678E64F9}" srcId="{8E4348BE-A076-40CC-8434-3FD66A6FB946}" destId="{05E8E5C6-BD09-4A8A-9AD2-50FFD1BA0084}" srcOrd="1" destOrd="0" parTransId="{1A91F988-A717-4BA8-AB05-BAF9A4D4A62A}" sibTransId="{2B3C93DB-ABCD-4D6B-B80B-26F578F44D07}"/>
    <dgm:cxn modelId="{DD565AA2-2E0E-4985-AAEF-934913ED9CD5}" srcId="{8E4348BE-A076-40CC-8434-3FD66A6FB946}" destId="{ED1CE765-554E-4B25-BE60-ED536B352E19}" srcOrd="2" destOrd="0" parTransId="{6C08F01F-158E-44FE-91C8-272E7B46D496}" sibTransId="{98D082D3-49D3-4D59-A27F-56786889C0FF}"/>
    <dgm:cxn modelId="{FD88F643-C1D1-48BF-B46A-30B4566F6177}" type="presParOf" srcId="{7CAE810B-D76D-48D3-8864-66E05DD14BD0}" destId="{4136ED91-281C-4E13-8F13-C4B83BF1BB1D}" srcOrd="0" destOrd="0" presId="urn:microsoft.com/office/officeart/2005/8/layout/orgChart1"/>
    <dgm:cxn modelId="{F221836C-E705-49DC-A355-583439F6E571}" type="presParOf" srcId="{4136ED91-281C-4E13-8F13-C4B83BF1BB1D}" destId="{266C0D91-B501-472C-BD10-4C2AF5587112}" srcOrd="0" destOrd="0" presId="urn:microsoft.com/office/officeart/2005/8/layout/orgChart1"/>
    <dgm:cxn modelId="{D517F8DC-1D92-42A9-9073-1FD3596900C3}" type="presParOf" srcId="{266C0D91-B501-472C-BD10-4C2AF5587112}" destId="{AFEFBE3F-2944-49BF-BC06-B786B040159D}" srcOrd="0" destOrd="0" presId="urn:microsoft.com/office/officeart/2005/8/layout/orgChart1"/>
    <dgm:cxn modelId="{22F99999-A31F-4CE6-8DA9-D84DB370C351}" type="presParOf" srcId="{266C0D91-B501-472C-BD10-4C2AF5587112}" destId="{F01B5906-C573-4454-8482-9F66AA00CBE4}" srcOrd="1" destOrd="0" presId="urn:microsoft.com/office/officeart/2005/8/layout/orgChart1"/>
    <dgm:cxn modelId="{FE2F5CE6-1BD2-4EE6-B984-899912279C94}" type="presParOf" srcId="{4136ED91-281C-4E13-8F13-C4B83BF1BB1D}" destId="{E34F3DE5-8A93-4160-810E-3F2410640520}" srcOrd="1" destOrd="0" presId="urn:microsoft.com/office/officeart/2005/8/layout/orgChart1"/>
    <dgm:cxn modelId="{30E017F7-7ADA-44E2-B3E2-CFE50A67352A}" type="presParOf" srcId="{E34F3DE5-8A93-4160-810E-3F2410640520}" destId="{F2843318-0925-49CC-8B7C-71A7D30F1C3B}" srcOrd="0" destOrd="0" presId="urn:microsoft.com/office/officeart/2005/8/layout/orgChart1"/>
    <dgm:cxn modelId="{9010CD5A-FFE8-44EC-8EEC-7DBFD1821FEB}" type="presParOf" srcId="{E34F3DE5-8A93-4160-810E-3F2410640520}" destId="{58C84D3B-A241-4CDA-8EE3-7A67C671D30B}" srcOrd="1" destOrd="0" presId="urn:microsoft.com/office/officeart/2005/8/layout/orgChart1"/>
    <dgm:cxn modelId="{4203660A-54EB-49F4-AE56-C06871AC7F18}" type="presParOf" srcId="{58C84D3B-A241-4CDA-8EE3-7A67C671D30B}" destId="{2747F3C5-3C03-4788-A9D3-C9DE52A8EE76}" srcOrd="0" destOrd="0" presId="urn:microsoft.com/office/officeart/2005/8/layout/orgChart1"/>
    <dgm:cxn modelId="{EF846AD9-97A5-4468-A573-99F66D8A99C5}" type="presParOf" srcId="{2747F3C5-3C03-4788-A9D3-C9DE52A8EE76}" destId="{0032C439-5A47-452F-9316-EFF116F617BC}" srcOrd="0" destOrd="0" presId="urn:microsoft.com/office/officeart/2005/8/layout/orgChart1"/>
    <dgm:cxn modelId="{7E097C3F-3A73-4345-B93D-5CE8D9670E32}" type="presParOf" srcId="{2747F3C5-3C03-4788-A9D3-C9DE52A8EE76}" destId="{92262C60-71E6-4072-B411-A68D88548B36}" srcOrd="1" destOrd="0" presId="urn:microsoft.com/office/officeart/2005/8/layout/orgChart1"/>
    <dgm:cxn modelId="{ECE825BA-E583-49CB-A8B1-5ACBC7DD591F}" type="presParOf" srcId="{58C84D3B-A241-4CDA-8EE3-7A67C671D30B}" destId="{7FB00004-98B2-4F5B-BE50-E92C3E723BE5}" srcOrd="1" destOrd="0" presId="urn:microsoft.com/office/officeart/2005/8/layout/orgChart1"/>
    <dgm:cxn modelId="{42CE573F-614E-453B-B159-21CDAF9DEB78}" type="presParOf" srcId="{58C84D3B-A241-4CDA-8EE3-7A67C671D30B}" destId="{C0E4FFA5-5ED9-49CD-B8C7-9B0EA692CC3B}" srcOrd="2" destOrd="0" presId="urn:microsoft.com/office/officeart/2005/8/layout/orgChart1"/>
    <dgm:cxn modelId="{8FF911A5-4CA8-47C4-988E-43F03EF42F2D}" type="presParOf" srcId="{E34F3DE5-8A93-4160-810E-3F2410640520}" destId="{AE04EFDD-FA2F-4B00-A805-7FE9B00B115A}" srcOrd="2" destOrd="0" presId="urn:microsoft.com/office/officeart/2005/8/layout/orgChart1"/>
    <dgm:cxn modelId="{480BEC89-2F8A-4FC7-93DB-713106B512DA}" type="presParOf" srcId="{E34F3DE5-8A93-4160-810E-3F2410640520}" destId="{67738274-F9B4-4132-BA65-46B711D9F75C}" srcOrd="3" destOrd="0" presId="urn:microsoft.com/office/officeart/2005/8/layout/orgChart1"/>
    <dgm:cxn modelId="{A975698C-D4EF-4158-859B-4B2AA4206F5A}" type="presParOf" srcId="{67738274-F9B4-4132-BA65-46B711D9F75C}" destId="{B3B4601C-0E53-4A55-822D-AB07C49DB9AF}" srcOrd="0" destOrd="0" presId="urn:microsoft.com/office/officeart/2005/8/layout/orgChart1"/>
    <dgm:cxn modelId="{697B34CE-C050-4A9A-94E1-44C935DC28D2}" type="presParOf" srcId="{B3B4601C-0E53-4A55-822D-AB07C49DB9AF}" destId="{10065B10-3ED9-4926-A1CC-E35345073210}" srcOrd="0" destOrd="0" presId="urn:microsoft.com/office/officeart/2005/8/layout/orgChart1"/>
    <dgm:cxn modelId="{91783D27-76F4-4DC9-9296-58D980E2AB4D}" type="presParOf" srcId="{B3B4601C-0E53-4A55-822D-AB07C49DB9AF}" destId="{FB28727B-E6AD-4058-9FDA-1E837CF246D5}" srcOrd="1" destOrd="0" presId="urn:microsoft.com/office/officeart/2005/8/layout/orgChart1"/>
    <dgm:cxn modelId="{0AC25778-3916-4DD9-89E6-C6F08D267F08}" type="presParOf" srcId="{67738274-F9B4-4132-BA65-46B711D9F75C}" destId="{1C4A5188-6BF5-4C15-A91D-E23322E7D5AB}" srcOrd="1" destOrd="0" presId="urn:microsoft.com/office/officeart/2005/8/layout/orgChart1"/>
    <dgm:cxn modelId="{89B90AC6-836C-46C3-A834-A2C5D64C867F}" type="presParOf" srcId="{67738274-F9B4-4132-BA65-46B711D9F75C}" destId="{A8673252-AB5B-4EF8-894B-BF67C37C629E}" srcOrd="2" destOrd="0" presId="urn:microsoft.com/office/officeart/2005/8/layout/orgChart1"/>
    <dgm:cxn modelId="{BE14BE8A-33AF-4816-B413-C8A9B3933503}" type="presParOf" srcId="{E34F3DE5-8A93-4160-810E-3F2410640520}" destId="{B256BA07-93F9-4CDA-B505-D3F0F43D4595}" srcOrd="4" destOrd="0" presId="urn:microsoft.com/office/officeart/2005/8/layout/orgChart1"/>
    <dgm:cxn modelId="{325CD2E3-1CF0-45A0-BFED-A0B81C4637AB}" type="presParOf" srcId="{E34F3DE5-8A93-4160-810E-3F2410640520}" destId="{0C076AE2-96B7-4348-A1D8-346CE417ABE3}" srcOrd="5" destOrd="0" presId="urn:microsoft.com/office/officeart/2005/8/layout/orgChart1"/>
    <dgm:cxn modelId="{AE2B6536-00E8-4566-ABD4-972B59BC6449}" type="presParOf" srcId="{0C076AE2-96B7-4348-A1D8-346CE417ABE3}" destId="{C72A034D-8BB3-4937-9E61-60750E9225A0}" srcOrd="0" destOrd="0" presId="urn:microsoft.com/office/officeart/2005/8/layout/orgChart1"/>
    <dgm:cxn modelId="{18A1896C-4099-4A74-815C-62F0AD3470EF}" type="presParOf" srcId="{C72A034D-8BB3-4937-9E61-60750E9225A0}" destId="{0BC1DC89-D6ED-4BA2-B905-7EEAC9098813}" srcOrd="0" destOrd="0" presId="urn:microsoft.com/office/officeart/2005/8/layout/orgChart1"/>
    <dgm:cxn modelId="{65C65C4C-B167-47C6-A4E7-E0F1FB44023E}" type="presParOf" srcId="{C72A034D-8BB3-4937-9E61-60750E9225A0}" destId="{6AA3CB48-2CB8-4941-8971-11539BBFE392}" srcOrd="1" destOrd="0" presId="urn:microsoft.com/office/officeart/2005/8/layout/orgChart1"/>
    <dgm:cxn modelId="{A7E30E88-F943-48D7-A5D7-0A50A5F248F0}" type="presParOf" srcId="{0C076AE2-96B7-4348-A1D8-346CE417ABE3}" destId="{D7565FDB-31AD-4B9E-909A-254F289F8973}" srcOrd="1" destOrd="0" presId="urn:microsoft.com/office/officeart/2005/8/layout/orgChart1"/>
    <dgm:cxn modelId="{B76DF6C2-F9EE-44FF-B9E2-2AEA963B4157}" type="presParOf" srcId="{0C076AE2-96B7-4348-A1D8-346CE417ABE3}" destId="{69FB8CD2-CEBF-4DD1-9B6A-D756B9B72E28}" srcOrd="2" destOrd="0" presId="urn:microsoft.com/office/officeart/2005/8/layout/orgChart1"/>
    <dgm:cxn modelId="{F2D4802F-8788-4EC9-9288-11171E46F0E6}" type="presParOf" srcId="{4136ED91-281C-4E13-8F13-C4B83BF1BB1D}" destId="{96DF71F3-84A0-4FBC-A088-9E72BB4DDEF5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B256BA07-93F9-4CDA-B505-D3F0F43D4595}">
      <dsp:nvSpPr>
        <dsp:cNvPr id="0" name=""/>
        <dsp:cNvSpPr/>
      </dsp:nvSpPr>
      <dsp:spPr>
        <a:xfrm>
          <a:off x="5572311" y="903621"/>
          <a:ext cx="4053585" cy="34647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9881"/>
              </a:lnTo>
              <a:lnTo>
                <a:pt x="4053585" y="169881"/>
              </a:lnTo>
              <a:lnTo>
                <a:pt x="4053585" y="346473"/>
              </a:lnTo>
            </a:path>
          </a:pathLst>
        </a:custGeom>
        <a:noFill/>
        <a:ln w="9525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04EFDD-FA2F-4B00-A805-7FE9B00B115A}">
      <dsp:nvSpPr>
        <dsp:cNvPr id="0" name=""/>
        <dsp:cNvSpPr/>
      </dsp:nvSpPr>
      <dsp:spPr>
        <a:xfrm>
          <a:off x="5522084" y="903621"/>
          <a:ext cx="91440" cy="346473"/>
        </a:xfrm>
        <a:custGeom>
          <a:avLst/>
          <a:gdLst/>
          <a:ahLst/>
          <a:cxnLst/>
          <a:rect l="0" t="0" r="0" b="0"/>
          <a:pathLst>
            <a:path>
              <a:moveTo>
                <a:pt x="50227" y="0"/>
              </a:moveTo>
              <a:lnTo>
                <a:pt x="50227" y="169881"/>
              </a:lnTo>
              <a:lnTo>
                <a:pt x="45720" y="169881"/>
              </a:lnTo>
              <a:lnTo>
                <a:pt x="45720" y="346473"/>
              </a:lnTo>
            </a:path>
          </a:pathLst>
        </a:custGeom>
        <a:noFill/>
        <a:ln w="9525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2843318-0925-49CC-8B7C-71A7D30F1C3B}">
      <dsp:nvSpPr>
        <dsp:cNvPr id="0" name=""/>
        <dsp:cNvSpPr/>
      </dsp:nvSpPr>
      <dsp:spPr>
        <a:xfrm>
          <a:off x="1412988" y="903621"/>
          <a:ext cx="4159323" cy="353184"/>
        </a:xfrm>
        <a:custGeom>
          <a:avLst/>
          <a:gdLst/>
          <a:ahLst/>
          <a:cxnLst/>
          <a:rect l="0" t="0" r="0" b="0"/>
          <a:pathLst>
            <a:path>
              <a:moveTo>
                <a:pt x="4159323" y="0"/>
              </a:moveTo>
              <a:lnTo>
                <a:pt x="4159323" y="176592"/>
              </a:lnTo>
              <a:lnTo>
                <a:pt x="0" y="176592"/>
              </a:lnTo>
              <a:lnTo>
                <a:pt x="0" y="353184"/>
              </a:lnTo>
            </a:path>
          </a:pathLst>
        </a:custGeom>
        <a:noFill/>
        <a:ln w="127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FEFBE3F-2944-49BF-BC06-B786B040159D}">
      <dsp:nvSpPr>
        <dsp:cNvPr id="0" name=""/>
        <dsp:cNvSpPr/>
      </dsp:nvSpPr>
      <dsp:spPr>
        <a:xfrm>
          <a:off x="3384378" y="1085"/>
          <a:ext cx="4375865" cy="902536"/>
        </a:xfrm>
        <a:prstGeom prst="rect">
          <a:avLst/>
        </a:prstGeom>
        <a:solidFill>
          <a:schemeClr val="accent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/>
            <a:t>Проект Концепции системы управления рисками, внутреннего контроля и внутреннего аудита в секторе государственного управления</a:t>
          </a:r>
          <a:endParaRPr lang="ru-RU" sz="1600" b="1" kern="1200" dirty="0">
            <a:solidFill>
              <a:schemeClr val="accent5"/>
            </a:solidFill>
          </a:endParaRPr>
        </a:p>
      </dsp:txBody>
      <dsp:txXfrm>
        <a:off x="3384378" y="1085"/>
        <a:ext cx="4375865" cy="902536"/>
      </dsp:txXfrm>
    </dsp:sp>
    <dsp:sp modelId="{0032C439-5A47-452F-9316-EFF116F617BC}">
      <dsp:nvSpPr>
        <dsp:cNvPr id="0" name=""/>
        <dsp:cNvSpPr/>
      </dsp:nvSpPr>
      <dsp:spPr>
        <a:xfrm>
          <a:off x="0" y="1256805"/>
          <a:ext cx="2825976" cy="1352627"/>
        </a:xfrm>
        <a:prstGeom prst="rect">
          <a:avLst/>
        </a:prstGeom>
        <a:solidFill>
          <a:schemeClr val="bg1">
            <a:lumMod val="75000"/>
            <a:alpha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chemeClr val="accent3">
                  <a:lumMod val="50000"/>
                </a:schemeClr>
              </a:solidFill>
            </a:rPr>
            <a:t>Проект Методических рекомендаций по организации системы управления рисками и внутреннего контроля</a:t>
          </a:r>
          <a:endParaRPr lang="ru-RU" sz="1600" b="1" kern="1200" dirty="0">
            <a:solidFill>
              <a:schemeClr val="accent3">
                <a:lumMod val="50000"/>
              </a:schemeClr>
            </a:solidFill>
          </a:endParaRPr>
        </a:p>
      </dsp:txBody>
      <dsp:txXfrm>
        <a:off x="0" y="1256805"/>
        <a:ext cx="2825976" cy="1352627"/>
      </dsp:txXfrm>
    </dsp:sp>
    <dsp:sp modelId="{10065B10-3ED9-4926-A1CC-E35345073210}">
      <dsp:nvSpPr>
        <dsp:cNvPr id="0" name=""/>
        <dsp:cNvSpPr/>
      </dsp:nvSpPr>
      <dsp:spPr>
        <a:xfrm>
          <a:off x="4104453" y="1250095"/>
          <a:ext cx="2926701" cy="1356857"/>
        </a:xfrm>
        <a:prstGeom prst="rect">
          <a:avLst/>
        </a:prstGeom>
        <a:solidFill>
          <a:schemeClr val="bg1">
            <a:lumMod val="75000"/>
            <a:alpha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chemeClr val="accent3">
                  <a:lumMod val="50000"/>
                </a:schemeClr>
              </a:solidFill>
            </a:rPr>
            <a:t>Проект Методических рекомендаций по организации внутреннего аудита</a:t>
          </a:r>
          <a:endParaRPr lang="ru-RU" sz="1600" b="1" kern="1200" dirty="0">
            <a:solidFill>
              <a:schemeClr val="accent3">
                <a:lumMod val="50000"/>
              </a:schemeClr>
            </a:solidFill>
          </a:endParaRPr>
        </a:p>
      </dsp:txBody>
      <dsp:txXfrm>
        <a:off x="4104453" y="1250095"/>
        <a:ext cx="2926701" cy="1356857"/>
      </dsp:txXfrm>
    </dsp:sp>
    <dsp:sp modelId="{0BC1DC89-D6ED-4BA2-B905-7EEAC9098813}">
      <dsp:nvSpPr>
        <dsp:cNvPr id="0" name=""/>
        <dsp:cNvSpPr/>
      </dsp:nvSpPr>
      <dsp:spPr>
        <a:xfrm>
          <a:off x="8136906" y="1250095"/>
          <a:ext cx="2977980" cy="1425131"/>
        </a:xfrm>
        <a:prstGeom prst="rect">
          <a:avLst/>
        </a:prstGeom>
        <a:solidFill>
          <a:schemeClr val="bg1">
            <a:lumMod val="75000"/>
            <a:alpha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chemeClr val="accent3">
                  <a:lumMod val="50000"/>
                </a:schemeClr>
              </a:solidFill>
            </a:rPr>
            <a:t>Проект Системы оценки качества организации финансового менеджмента главных администраторов средств федерального бюджета</a:t>
          </a:r>
          <a:endParaRPr lang="ru-RU" sz="1600" b="1" kern="1200" dirty="0">
            <a:solidFill>
              <a:schemeClr val="accent3">
                <a:lumMod val="50000"/>
              </a:schemeClr>
            </a:solidFill>
          </a:endParaRPr>
        </a:p>
      </dsp:txBody>
      <dsp:txXfrm>
        <a:off x="8136906" y="1250095"/>
        <a:ext cx="2977980" cy="142513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0909" cy="340915"/>
          </a:xfrm>
          <a:prstGeom prst="rect">
            <a:avLst/>
          </a:prstGeom>
        </p:spPr>
        <p:txBody>
          <a:bodyPr vert="horz" lIns="91294" tIns="45647" rIns="91294" bIns="45647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2560" y="0"/>
            <a:ext cx="4302494" cy="340915"/>
          </a:xfrm>
          <a:prstGeom prst="rect">
            <a:avLst/>
          </a:prstGeom>
        </p:spPr>
        <p:txBody>
          <a:bodyPr vert="horz" lIns="91294" tIns="45647" rIns="91294" bIns="45647" rtlCol="0"/>
          <a:lstStyle>
            <a:lvl1pPr algn="r">
              <a:defRPr sz="1200"/>
            </a:lvl1pPr>
          </a:lstStyle>
          <a:p>
            <a:fld id="{5CC611D4-7E9D-41AE-A32E-191A006D988A}" type="datetimeFigureOut">
              <a:rPr lang="ru-RU" smtClean="0"/>
              <a:pPr/>
              <a:t>19.04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924175" y="849313"/>
            <a:ext cx="4078288" cy="2295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94" tIns="45647" rIns="91294" bIns="45647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2030" y="3271193"/>
            <a:ext cx="7942578" cy="2676574"/>
          </a:xfrm>
          <a:prstGeom prst="rect">
            <a:avLst/>
          </a:prstGeom>
        </p:spPr>
        <p:txBody>
          <a:bodyPr vert="horz" lIns="91294" tIns="45647" rIns="91294" bIns="45647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6456761"/>
            <a:ext cx="4300909" cy="340915"/>
          </a:xfrm>
          <a:prstGeom prst="rect">
            <a:avLst/>
          </a:prstGeom>
        </p:spPr>
        <p:txBody>
          <a:bodyPr vert="horz" lIns="91294" tIns="45647" rIns="91294" bIns="45647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2560" y="6456761"/>
            <a:ext cx="4302494" cy="340915"/>
          </a:xfrm>
          <a:prstGeom prst="rect">
            <a:avLst/>
          </a:prstGeom>
        </p:spPr>
        <p:txBody>
          <a:bodyPr vert="horz" lIns="91294" tIns="45647" rIns="91294" bIns="45647" rtlCol="0" anchor="b"/>
          <a:lstStyle>
            <a:lvl1pPr algn="r">
              <a:defRPr sz="1200"/>
            </a:lvl1pPr>
          </a:lstStyle>
          <a:p>
            <a:fld id="{6A3E82E6-6153-4B70-A47D-D0BE5030AE4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9346218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4" Type="http://schemas.openxmlformats.org/officeDocument/2006/relationships/tags" Target="../tags/tag32.xml"/><Relationship Id="rId9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/>
          <p:cNvGrpSpPr/>
          <p:nvPr userDrawn="1"/>
        </p:nvGrpSpPr>
        <p:grpSpPr>
          <a:xfrm>
            <a:off x="-49164" y="-47003"/>
            <a:ext cx="12251487" cy="846767"/>
            <a:chOff x="-49164" y="-47003"/>
            <a:chExt cx="12251487" cy="846767"/>
          </a:xfrm>
        </p:grpSpPr>
        <p:sp>
          <p:nvSpPr>
            <p:cNvPr id="21" name="Freeform 8"/>
            <p:cNvSpPr>
              <a:spLocks/>
            </p:cNvSpPr>
            <p:nvPr/>
          </p:nvSpPr>
          <p:spPr bwMode="auto">
            <a:xfrm flipH="1">
              <a:off x="1775518" y="-47003"/>
              <a:ext cx="10426805" cy="606941"/>
            </a:xfrm>
            <a:custGeom>
              <a:avLst/>
              <a:gdLst>
                <a:gd name="T0" fmla="*/ 0 w 4406"/>
                <a:gd name="T1" fmla="*/ 0 h 1436"/>
                <a:gd name="T2" fmla="*/ 0 w 4406"/>
                <a:gd name="T3" fmla="*/ 1436 h 1436"/>
                <a:gd name="T4" fmla="*/ 4110 w 4406"/>
                <a:gd name="T5" fmla="*/ 405 h 1436"/>
                <a:gd name="T6" fmla="*/ 4406 w 4406"/>
                <a:gd name="T7" fmla="*/ 0 h 1436"/>
                <a:gd name="T8" fmla="*/ 0 w 4406"/>
                <a:gd name="T9" fmla="*/ 0 h 1436"/>
                <a:gd name="connsiteX0" fmla="*/ 0 w 10000"/>
                <a:gd name="connsiteY0" fmla="*/ 0 h 5109"/>
                <a:gd name="connsiteX1" fmla="*/ 6359 w 10000"/>
                <a:gd name="connsiteY1" fmla="*/ 5109 h 5109"/>
                <a:gd name="connsiteX2" fmla="*/ 9328 w 10000"/>
                <a:gd name="connsiteY2" fmla="*/ 2820 h 5109"/>
                <a:gd name="connsiteX3" fmla="*/ 10000 w 10000"/>
                <a:gd name="connsiteY3" fmla="*/ 0 h 5109"/>
                <a:gd name="connsiteX4" fmla="*/ 0 w 10000"/>
                <a:gd name="connsiteY4" fmla="*/ 0 h 5109"/>
                <a:gd name="connsiteX0" fmla="*/ 0 w 3709"/>
                <a:gd name="connsiteY0" fmla="*/ 306 h 10000"/>
                <a:gd name="connsiteX1" fmla="*/ 68 w 3709"/>
                <a:gd name="connsiteY1" fmla="*/ 10000 h 10000"/>
                <a:gd name="connsiteX2" fmla="*/ 3037 w 3709"/>
                <a:gd name="connsiteY2" fmla="*/ 5520 h 10000"/>
                <a:gd name="connsiteX3" fmla="*/ 3709 w 3709"/>
                <a:gd name="connsiteY3" fmla="*/ 0 h 10000"/>
                <a:gd name="connsiteX4" fmla="*/ 0 w 3709"/>
                <a:gd name="connsiteY4" fmla="*/ 306 h 10000"/>
                <a:gd name="connsiteX0" fmla="*/ 0 w 10000"/>
                <a:gd name="connsiteY0" fmla="*/ 306 h 9927"/>
                <a:gd name="connsiteX1" fmla="*/ 49 w 10000"/>
                <a:gd name="connsiteY1" fmla="*/ 9927 h 9927"/>
                <a:gd name="connsiteX2" fmla="*/ 8188 w 10000"/>
                <a:gd name="connsiteY2" fmla="*/ 5520 h 9927"/>
                <a:gd name="connsiteX3" fmla="*/ 10000 w 10000"/>
                <a:gd name="connsiteY3" fmla="*/ 0 h 9927"/>
                <a:gd name="connsiteX4" fmla="*/ 0 w 10000"/>
                <a:gd name="connsiteY4" fmla="*/ 306 h 9927"/>
                <a:gd name="connsiteX0" fmla="*/ 0 w 10000"/>
                <a:gd name="connsiteY0" fmla="*/ 308 h 10000"/>
                <a:gd name="connsiteX1" fmla="*/ 205 w 10000"/>
                <a:gd name="connsiteY1" fmla="*/ 10000 h 10000"/>
                <a:gd name="connsiteX2" fmla="*/ 8188 w 10000"/>
                <a:gd name="connsiteY2" fmla="*/ 5561 h 10000"/>
                <a:gd name="connsiteX3" fmla="*/ 10000 w 10000"/>
                <a:gd name="connsiteY3" fmla="*/ 0 h 10000"/>
                <a:gd name="connsiteX4" fmla="*/ 0 w 10000"/>
                <a:gd name="connsiteY4" fmla="*/ 308 h 10000"/>
                <a:gd name="connsiteX0" fmla="*/ 0 w 9864"/>
                <a:gd name="connsiteY0" fmla="*/ 40 h 10000"/>
                <a:gd name="connsiteX1" fmla="*/ 69 w 9864"/>
                <a:gd name="connsiteY1" fmla="*/ 10000 h 10000"/>
                <a:gd name="connsiteX2" fmla="*/ 8052 w 9864"/>
                <a:gd name="connsiteY2" fmla="*/ 5561 h 10000"/>
                <a:gd name="connsiteX3" fmla="*/ 9864 w 9864"/>
                <a:gd name="connsiteY3" fmla="*/ 0 h 10000"/>
                <a:gd name="connsiteX4" fmla="*/ 0 w 9864"/>
                <a:gd name="connsiteY4" fmla="*/ 40 h 10000"/>
                <a:gd name="connsiteX0" fmla="*/ 9 w 9950"/>
                <a:gd name="connsiteY0" fmla="*/ 40 h 10000"/>
                <a:gd name="connsiteX1" fmla="*/ 20 w 9950"/>
                <a:gd name="connsiteY1" fmla="*/ 10000 h 10000"/>
                <a:gd name="connsiteX2" fmla="*/ 8113 w 9950"/>
                <a:gd name="connsiteY2" fmla="*/ 5561 h 10000"/>
                <a:gd name="connsiteX3" fmla="*/ 9950 w 9950"/>
                <a:gd name="connsiteY3" fmla="*/ 0 h 10000"/>
                <a:gd name="connsiteX4" fmla="*/ 9 w 9950"/>
                <a:gd name="connsiteY4" fmla="*/ 40 h 10000"/>
                <a:gd name="connsiteX0" fmla="*/ 19 w 10010"/>
                <a:gd name="connsiteY0" fmla="*/ 40 h 10000"/>
                <a:gd name="connsiteX1" fmla="*/ 30 w 10010"/>
                <a:gd name="connsiteY1" fmla="*/ 10000 h 10000"/>
                <a:gd name="connsiteX2" fmla="*/ 8164 w 10010"/>
                <a:gd name="connsiteY2" fmla="*/ 5561 h 10000"/>
                <a:gd name="connsiteX3" fmla="*/ 10010 w 10010"/>
                <a:gd name="connsiteY3" fmla="*/ 0 h 10000"/>
                <a:gd name="connsiteX4" fmla="*/ 19 w 10010"/>
                <a:gd name="connsiteY4" fmla="*/ 40 h 10000"/>
                <a:gd name="connsiteX0" fmla="*/ 0 w 9991"/>
                <a:gd name="connsiteY0" fmla="*/ 40 h 10000"/>
                <a:gd name="connsiteX1" fmla="*/ 11 w 9991"/>
                <a:gd name="connsiteY1" fmla="*/ 10000 h 10000"/>
                <a:gd name="connsiteX2" fmla="*/ 8145 w 9991"/>
                <a:gd name="connsiteY2" fmla="*/ 5561 h 10000"/>
                <a:gd name="connsiteX3" fmla="*/ 9991 w 9991"/>
                <a:gd name="connsiteY3" fmla="*/ 0 h 10000"/>
                <a:gd name="connsiteX4" fmla="*/ 0 w 9991"/>
                <a:gd name="connsiteY4" fmla="*/ 40 h 10000"/>
                <a:gd name="connsiteX0" fmla="*/ 11 w 10011"/>
                <a:gd name="connsiteY0" fmla="*/ 40 h 10188"/>
                <a:gd name="connsiteX1" fmla="*/ 0 w 10011"/>
                <a:gd name="connsiteY1" fmla="*/ 10188 h 10188"/>
                <a:gd name="connsiteX2" fmla="*/ 8163 w 10011"/>
                <a:gd name="connsiteY2" fmla="*/ 5561 h 10188"/>
                <a:gd name="connsiteX3" fmla="*/ 10011 w 10011"/>
                <a:gd name="connsiteY3" fmla="*/ 0 h 10188"/>
                <a:gd name="connsiteX4" fmla="*/ 11 w 10011"/>
                <a:gd name="connsiteY4" fmla="*/ 40 h 1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11" h="10188">
                  <a:moveTo>
                    <a:pt x="11" y="40"/>
                  </a:moveTo>
                  <a:cubicBezTo>
                    <a:pt x="15" y="3295"/>
                    <a:pt x="2" y="6839"/>
                    <a:pt x="0" y="10188"/>
                  </a:cubicBezTo>
                  <a:lnTo>
                    <a:pt x="8163" y="5561"/>
                  </a:lnTo>
                  <a:lnTo>
                    <a:pt x="10011" y="0"/>
                  </a:lnTo>
                  <a:lnTo>
                    <a:pt x="11" y="40"/>
                  </a:lnTo>
                  <a:close/>
                </a:path>
              </a:pathLst>
            </a:custGeom>
            <a:solidFill>
              <a:srgbClr val="2C41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/>
            </a:p>
          </p:txBody>
        </p:sp>
        <p:sp>
          <p:nvSpPr>
            <p:cNvPr id="23" name="Freeform 6"/>
            <p:cNvSpPr>
              <a:spLocks/>
            </p:cNvSpPr>
            <p:nvPr userDrawn="1"/>
          </p:nvSpPr>
          <p:spPr bwMode="auto">
            <a:xfrm>
              <a:off x="-34838" y="-38715"/>
              <a:ext cx="9011158" cy="801026"/>
            </a:xfrm>
            <a:custGeom>
              <a:avLst/>
              <a:gdLst>
                <a:gd name="T0" fmla="*/ 0 w 5214"/>
                <a:gd name="T1" fmla="*/ 0 h 2191"/>
                <a:gd name="T2" fmla="*/ 0 w 5214"/>
                <a:gd name="T3" fmla="*/ 2191 h 2191"/>
                <a:gd name="T4" fmla="*/ 5214 w 5214"/>
                <a:gd name="T5" fmla="*/ 0 h 2191"/>
                <a:gd name="T6" fmla="*/ 0 w 5214"/>
                <a:gd name="T7" fmla="*/ 0 h 2191"/>
                <a:gd name="connsiteX0" fmla="*/ 0 w 10000"/>
                <a:gd name="connsiteY0" fmla="*/ 0 h 4612"/>
                <a:gd name="connsiteX1" fmla="*/ 5345 w 10000"/>
                <a:gd name="connsiteY1" fmla="*/ 4612 h 4612"/>
                <a:gd name="connsiteX2" fmla="*/ 10000 w 10000"/>
                <a:gd name="connsiteY2" fmla="*/ 0 h 4612"/>
                <a:gd name="connsiteX3" fmla="*/ 0 w 10000"/>
                <a:gd name="connsiteY3" fmla="*/ 0 h 4612"/>
                <a:gd name="connsiteX0" fmla="*/ 0 w 4684"/>
                <a:gd name="connsiteY0" fmla="*/ 74 h 10000"/>
                <a:gd name="connsiteX1" fmla="*/ 29 w 4684"/>
                <a:gd name="connsiteY1" fmla="*/ 10000 h 10000"/>
                <a:gd name="connsiteX2" fmla="*/ 4684 w 4684"/>
                <a:gd name="connsiteY2" fmla="*/ 0 h 10000"/>
                <a:gd name="connsiteX3" fmla="*/ 0 w 4684"/>
                <a:gd name="connsiteY3" fmla="*/ 74 h 10000"/>
                <a:gd name="connsiteX0" fmla="*/ 0 w 10000"/>
                <a:gd name="connsiteY0" fmla="*/ 74 h 9961"/>
                <a:gd name="connsiteX1" fmla="*/ 140 w 10000"/>
                <a:gd name="connsiteY1" fmla="*/ 9961 h 9961"/>
                <a:gd name="connsiteX2" fmla="*/ 10000 w 10000"/>
                <a:gd name="connsiteY2" fmla="*/ 0 h 9961"/>
                <a:gd name="connsiteX3" fmla="*/ 0 w 10000"/>
                <a:gd name="connsiteY3" fmla="*/ 74 h 9961"/>
                <a:gd name="connsiteX0" fmla="*/ 9 w 9866"/>
                <a:gd name="connsiteY0" fmla="*/ 0 h 10081"/>
                <a:gd name="connsiteX1" fmla="*/ 6 w 9866"/>
                <a:gd name="connsiteY1" fmla="*/ 10081 h 10081"/>
                <a:gd name="connsiteX2" fmla="*/ 9866 w 9866"/>
                <a:gd name="connsiteY2" fmla="*/ 81 h 10081"/>
                <a:gd name="connsiteX3" fmla="*/ 9 w 9866"/>
                <a:gd name="connsiteY3" fmla="*/ 0 h 10081"/>
                <a:gd name="connsiteX0" fmla="*/ 9 w 10000"/>
                <a:gd name="connsiteY0" fmla="*/ 36 h 9920"/>
                <a:gd name="connsiteX1" fmla="*/ 6 w 10000"/>
                <a:gd name="connsiteY1" fmla="*/ 9920 h 9920"/>
                <a:gd name="connsiteX2" fmla="*/ 10000 w 10000"/>
                <a:gd name="connsiteY2" fmla="*/ 0 h 9920"/>
                <a:gd name="connsiteX3" fmla="*/ 9 w 10000"/>
                <a:gd name="connsiteY3" fmla="*/ 36 h 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9920">
                  <a:moveTo>
                    <a:pt x="9" y="36"/>
                  </a:moveTo>
                  <a:cubicBezTo>
                    <a:pt x="30" y="3331"/>
                    <a:pt x="-15" y="6625"/>
                    <a:pt x="6" y="9920"/>
                  </a:cubicBezTo>
                  <a:lnTo>
                    <a:pt x="10000" y="0"/>
                  </a:lnTo>
                  <a:lnTo>
                    <a:pt x="9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 dirty="0"/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auto">
            <a:xfrm>
              <a:off x="-49164" y="-47003"/>
              <a:ext cx="7696089" cy="846767"/>
            </a:xfrm>
            <a:custGeom>
              <a:avLst/>
              <a:gdLst>
                <a:gd name="T0" fmla="*/ 0 w 4051"/>
                <a:gd name="T1" fmla="*/ 0 h 1363"/>
                <a:gd name="T2" fmla="*/ 0 w 4051"/>
                <a:gd name="T3" fmla="*/ 1363 h 1363"/>
                <a:gd name="T4" fmla="*/ 4051 w 4051"/>
                <a:gd name="T5" fmla="*/ 0 h 1363"/>
                <a:gd name="T6" fmla="*/ 0 w 4051"/>
                <a:gd name="T7" fmla="*/ 0 h 1363"/>
                <a:gd name="connsiteX0" fmla="*/ 6861 w 10000"/>
                <a:gd name="connsiteY0" fmla="*/ 0 h 10164"/>
                <a:gd name="connsiteX1" fmla="*/ 0 w 10000"/>
                <a:gd name="connsiteY1" fmla="*/ 10164 h 10164"/>
                <a:gd name="connsiteX2" fmla="*/ 10000 w 10000"/>
                <a:gd name="connsiteY2" fmla="*/ 164 h 10164"/>
                <a:gd name="connsiteX3" fmla="*/ 6861 w 10000"/>
                <a:gd name="connsiteY3" fmla="*/ 0 h 10164"/>
                <a:gd name="connsiteX0" fmla="*/ 18 w 3157"/>
                <a:gd name="connsiteY0" fmla="*/ 0 h 3312"/>
                <a:gd name="connsiteX1" fmla="*/ 0 w 3157"/>
                <a:gd name="connsiteY1" fmla="*/ 3312 h 3312"/>
                <a:gd name="connsiteX2" fmla="*/ 3157 w 3157"/>
                <a:gd name="connsiteY2" fmla="*/ 164 h 3312"/>
                <a:gd name="connsiteX3" fmla="*/ 18 w 3157"/>
                <a:gd name="connsiteY3" fmla="*/ 0 h 3312"/>
                <a:gd name="connsiteX0" fmla="*/ 57 w 10409"/>
                <a:gd name="connsiteY0" fmla="*/ 167 h 10167"/>
                <a:gd name="connsiteX1" fmla="*/ 0 w 10409"/>
                <a:gd name="connsiteY1" fmla="*/ 10167 h 10167"/>
                <a:gd name="connsiteX2" fmla="*/ 10409 w 10409"/>
                <a:gd name="connsiteY2" fmla="*/ 0 h 10167"/>
                <a:gd name="connsiteX3" fmla="*/ 57 w 10409"/>
                <a:gd name="connsiteY3" fmla="*/ 167 h 10167"/>
                <a:gd name="connsiteX0" fmla="*/ 181 w 10409"/>
                <a:gd name="connsiteY0" fmla="*/ 9 h 10269"/>
                <a:gd name="connsiteX1" fmla="*/ 0 w 10409"/>
                <a:gd name="connsiteY1" fmla="*/ 10269 h 10269"/>
                <a:gd name="connsiteX2" fmla="*/ 10409 w 10409"/>
                <a:gd name="connsiteY2" fmla="*/ 102 h 10269"/>
                <a:gd name="connsiteX3" fmla="*/ 181 w 10409"/>
                <a:gd name="connsiteY3" fmla="*/ 9 h 10269"/>
                <a:gd name="connsiteX0" fmla="*/ 3 w 10231"/>
                <a:gd name="connsiteY0" fmla="*/ 9 h 10269"/>
                <a:gd name="connsiteX1" fmla="*/ 46 w 10231"/>
                <a:gd name="connsiteY1" fmla="*/ 10269 h 10269"/>
                <a:gd name="connsiteX2" fmla="*/ 10231 w 10231"/>
                <a:gd name="connsiteY2" fmla="*/ 102 h 10269"/>
                <a:gd name="connsiteX3" fmla="*/ 3 w 10231"/>
                <a:gd name="connsiteY3" fmla="*/ 9 h 10269"/>
                <a:gd name="connsiteX0" fmla="*/ 0 w 10228"/>
                <a:gd name="connsiteY0" fmla="*/ 9 h 10269"/>
                <a:gd name="connsiteX1" fmla="*/ 43 w 10228"/>
                <a:gd name="connsiteY1" fmla="*/ 10269 h 10269"/>
                <a:gd name="connsiteX2" fmla="*/ 10228 w 10228"/>
                <a:gd name="connsiteY2" fmla="*/ 102 h 10269"/>
                <a:gd name="connsiteX3" fmla="*/ 0 w 10228"/>
                <a:gd name="connsiteY3" fmla="*/ 9 h 10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28" h="10269">
                  <a:moveTo>
                    <a:pt x="0" y="9"/>
                  </a:moveTo>
                  <a:cubicBezTo>
                    <a:pt x="56" y="10013"/>
                    <a:pt x="62" y="6936"/>
                    <a:pt x="43" y="10269"/>
                  </a:cubicBezTo>
                  <a:lnTo>
                    <a:pt x="10228" y="102"/>
                  </a:lnTo>
                  <a:cubicBezTo>
                    <a:pt x="6777" y="158"/>
                    <a:pt x="3451" y="-47"/>
                    <a:pt x="0" y="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/>
            </a:p>
          </p:txBody>
        </p:sp>
        <p:sp>
          <p:nvSpPr>
            <p:cNvPr id="20" name="Freeform 6"/>
            <p:cNvSpPr>
              <a:spLocks/>
            </p:cNvSpPr>
            <p:nvPr/>
          </p:nvSpPr>
          <p:spPr bwMode="auto">
            <a:xfrm>
              <a:off x="-34838" y="-38715"/>
              <a:ext cx="8147061" cy="529742"/>
            </a:xfrm>
            <a:custGeom>
              <a:avLst/>
              <a:gdLst>
                <a:gd name="T0" fmla="*/ 0 w 5214"/>
                <a:gd name="T1" fmla="*/ 0 h 2191"/>
                <a:gd name="T2" fmla="*/ 0 w 5214"/>
                <a:gd name="T3" fmla="*/ 2191 h 2191"/>
                <a:gd name="T4" fmla="*/ 5214 w 5214"/>
                <a:gd name="T5" fmla="*/ 0 h 2191"/>
                <a:gd name="T6" fmla="*/ 0 w 5214"/>
                <a:gd name="T7" fmla="*/ 0 h 2191"/>
                <a:gd name="connsiteX0" fmla="*/ 0 w 10000"/>
                <a:gd name="connsiteY0" fmla="*/ 0 h 4612"/>
                <a:gd name="connsiteX1" fmla="*/ 5345 w 10000"/>
                <a:gd name="connsiteY1" fmla="*/ 4612 h 4612"/>
                <a:gd name="connsiteX2" fmla="*/ 10000 w 10000"/>
                <a:gd name="connsiteY2" fmla="*/ 0 h 4612"/>
                <a:gd name="connsiteX3" fmla="*/ 0 w 10000"/>
                <a:gd name="connsiteY3" fmla="*/ 0 h 4612"/>
                <a:gd name="connsiteX0" fmla="*/ 0 w 4684"/>
                <a:gd name="connsiteY0" fmla="*/ 74 h 10000"/>
                <a:gd name="connsiteX1" fmla="*/ 29 w 4684"/>
                <a:gd name="connsiteY1" fmla="*/ 10000 h 10000"/>
                <a:gd name="connsiteX2" fmla="*/ 4684 w 4684"/>
                <a:gd name="connsiteY2" fmla="*/ 0 h 10000"/>
                <a:gd name="connsiteX3" fmla="*/ 0 w 4684"/>
                <a:gd name="connsiteY3" fmla="*/ 74 h 10000"/>
                <a:gd name="connsiteX0" fmla="*/ 0 w 10000"/>
                <a:gd name="connsiteY0" fmla="*/ 74 h 9961"/>
                <a:gd name="connsiteX1" fmla="*/ 140 w 10000"/>
                <a:gd name="connsiteY1" fmla="*/ 9961 h 9961"/>
                <a:gd name="connsiteX2" fmla="*/ 10000 w 10000"/>
                <a:gd name="connsiteY2" fmla="*/ 0 h 9961"/>
                <a:gd name="connsiteX3" fmla="*/ 0 w 10000"/>
                <a:gd name="connsiteY3" fmla="*/ 74 h 9961"/>
                <a:gd name="connsiteX0" fmla="*/ 9 w 9866"/>
                <a:gd name="connsiteY0" fmla="*/ 0 h 10081"/>
                <a:gd name="connsiteX1" fmla="*/ 6 w 9866"/>
                <a:gd name="connsiteY1" fmla="*/ 10081 h 10081"/>
                <a:gd name="connsiteX2" fmla="*/ 9866 w 9866"/>
                <a:gd name="connsiteY2" fmla="*/ 81 h 10081"/>
                <a:gd name="connsiteX3" fmla="*/ 9 w 9866"/>
                <a:gd name="connsiteY3" fmla="*/ 0 h 10081"/>
                <a:gd name="connsiteX0" fmla="*/ 9 w 10000"/>
                <a:gd name="connsiteY0" fmla="*/ 36 h 9920"/>
                <a:gd name="connsiteX1" fmla="*/ 6 w 10000"/>
                <a:gd name="connsiteY1" fmla="*/ 9920 h 9920"/>
                <a:gd name="connsiteX2" fmla="*/ 10000 w 10000"/>
                <a:gd name="connsiteY2" fmla="*/ 0 h 9920"/>
                <a:gd name="connsiteX3" fmla="*/ 9 w 10000"/>
                <a:gd name="connsiteY3" fmla="*/ 36 h 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9920">
                  <a:moveTo>
                    <a:pt x="9" y="36"/>
                  </a:moveTo>
                  <a:cubicBezTo>
                    <a:pt x="30" y="3331"/>
                    <a:pt x="-15" y="6625"/>
                    <a:pt x="6" y="9920"/>
                  </a:cubicBezTo>
                  <a:lnTo>
                    <a:pt x="10000" y="0"/>
                  </a:lnTo>
                  <a:lnTo>
                    <a:pt x="9" y="36"/>
                  </a:lnTo>
                  <a:close/>
                </a:path>
              </a:pathLst>
            </a:custGeom>
            <a:solidFill>
              <a:srgbClr val="B128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 dirty="0"/>
            </a:p>
          </p:txBody>
        </p:sp>
      </p:grpSp>
      <p:sp>
        <p:nvSpPr>
          <p:cNvPr id="46" name="Banderole Bottom"/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0" y="6602400"/>
            <a:ext cx="12192000" cy="2556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600" b="0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87" name="Text Placeholder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902677" y="1996700"/>
            <a:ext cx="10505831" cy="1762021"/>
          </a:xfrm>
        </p:spPr>
        <p:txBody>
          <a:bodyPr>
            <a:spAutoFit/>
          </a:bodyPr>
          <a:lstStyle>
            <a:lvl1pPr>
              <a:defRPr/>
            </a:lvl1pPr>
            <a:lvl2pPr>
              <a:defRPr/>
            </a:lvl2pPr>
            <a:lvl3pPr>
              <a:spcBef>
                <a:spcPts val="492"/>
              </a:spcBef>
              <a:defRPr/>
            </a:lvl3pPr>
            <a:lvl4pPr>
              <a:defRPr/>
            </a:lvl4pPr>
          </a:lstStyle>
          <a:p>
            <a:pPr lvl="0"/>
            <a:r>
              <a:rPr lang="en-US" dirty="0" smtClean="0"/>
              <a:t>Click to edit Master text styles – Level 0</a:t>
            </a:r>
          </a:p>
          <a:p>
            <a:pPr lvl="1"/>
            <a:r>
              <a:rPr lang="en-US" dirty="0" smtClean="0"/>
              <a:t>Level 1</a:t>
            </a:r>
          </a:p>
          <a:p>
            <a:pPr lvl="2"/>
            <a:r>
              <a:rPr lang="en-US" dirty="0" smtClean="0"/>
              <a:t>Level 2</a:t>
            </a:r>
          </a:p>
          <a:p>
            <a:pPr lvl="3"/>
            <a:r>
              <a:rPr lang="en-US" dirty="0" smtClean="0"/>
              <a:t>Level 3</a:t>
            </a:r>
          </a:p>
        </p:txBody>
      </p:sp>
      <p:sp>
        <p:nvSpPr>
          <p:cNvPr id="43" name="Title 4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3" name="Slide Number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1416792" y="117967"/>
            <a:ext cx="530786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1125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l" defTabSz="112544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Группа 19"/>
          <p:cNvGrpSpPr/>
          <p:nvPr userDrawn="1"/>
        </p:nvGrpSpPr>
        <p:grpSpPr>
          <a:xfrm>
            <a:off x="-49164" y="-47003"/>
            <a:ext cx="12251487" cy="846767"/>
            <a:chOff x="-49164" y="-47003"/>
            <a:chExt cx="12251487" cy="846767"/>
          </a:xfrm>
        </p:grpSpPr>
        <p:sp>
          <p:nvSpPr>
            <p:cNvPr id="21" name="Freeform 8"/>
            <p:cNvSpPr>
              <a:spLocks/>
            </p:cNvSpPr>
            <p:nvPr/>
          </p:nvSpPr>
          <p:spPr bwMode="auto">
            <a:xfrm flipH="1">
              <a:off x="1775518" y="-47003"/>
              <a:ext cx="10426805" cy="606941"/>
            </a:xfrm>
            <a:custGeom>
              <a:avLst/>
              <a:gdLst>
                <a:gd name="T0" fmla="*/ 0 w 4406"/>
                <a:gd name="T1" fmla="*/ 0 h 1436"/>
                <a:gd name="T2" fmla="*/ 0 w 4406"/>
                <a:gd name="T3" fmla="*/ 1436 h 1436"/>
                <a:gd name="T4" fmla="*/ 4110 w 4406"/>
                <a:gd name="T5" fmla="*/ 405 h 1436"/>
                <a:gd name="T6" fmla="*/ 4406 w 4406"/>
                <a:gd name="T7" fmla="*/ 0 h 1436"/>
                <a:gd name="T8" fmla="*/ 0 w 4406"/>
                <a:gd name="T9" fmla="*/ 0 h 1436"/>
                <a:gd name="connsiteX0" fmla="*/ 0 w 10000"/>
                <a:gd name="connsiteY0" fmla="*/ 0 h 5109"/>
                <a:gd name="connsiteX1" fmla="*/ 6359 w 10000"/>
                <a:gd name="connsiteY1" fmla="*/ 5109 h 5109"/>
                <a:gd name="connsiteX2" fmla="*/ 9328 w 10000"/>
                <a:gd name="connsiteY2" fmla="*/ 2820 h 5109"/>
                <a:gd name="connsiteX3" fmla="*/ 10000 w 10000"/>
                <a:gd name="connsiteY3" fmla="*/ 0 h 5109"/>
                <a:gd name="connsiteX4" fmla="*/ 0 w 10000"/>
                <a:gd name="connsiteY4" fmla="*/ 0 h 5109"/>
                <a:gd name="connsiteX0" fmla="*/ 0 w 3709"/>
                <a:gd name="connsiteY0" fmla="*/ 306 h 10000"/>
                <a:gd name="connsiteX1" fmla="*/ 68 w 3709"/>
                <a:gd name="connsiteY1" fmla="*/ 10000 h 10000"/>
                <a:gd name="connsiteX2" fmla="*/ 3037 w 3709"/>
                <a:gd name="connsiteY2" fmla="*/ 5520 h 10000"/>
                <a:gd name="connsiteX3" fmla="*/ 3709 w 3709"/>
                <a:gd name="connsiteY3" fmla="*/ 0 h 10000"/>
                <a:gd name="connsiteX4" fmla="*/ 0 w 3709"/>
                <a:gd name="connsiteY4" fmla="*/ 306 h 10000"/>
                <a:gd name="connsiteX0" fmla="*/ 0 w 10000"/>
                <a:gd name="connsiteY0" fmla="*/ 306 h 9927"/>
                <a:gd name="connsiteX1" fmla="*/ 49 w 10000"/>
                <a:gd name="connsiteY1" fmla="*/ 9927 h 9927"/>
                <a:gd name="connsiteX2" fmla="*/ 8188 w 10000"/>
                <a:gd name="connsiteY2" fmla="*/ 5520 h 9927"/>
                <a:gd name="connsiteX3" fmla="*/ 10000 w 10000"/>
                <a:gd name="connsiteY3" fmla="*/ 0 h 9927"/>
                <a:gd name="connsiteX4" fmla="*/ 0 w 10000"/>
                <a:gd name="connsiteY4" fmla="*/ 306 h 9927"/>
                <a:gd name="connsiteX0" fmla="*/ 0 w 10000"/>
                <a:gd name="connsiteY0" fmla="*/ 308 h 10000"/>
                <a:gd name="connsiteX1" fmla="*/ 205 w 10000"/>
                <a:gd name="connsiteY1" fmla="*/ 10000 h 10000"/>
                <a:gd name="connsiteX2" fmla="*/ 8188 w 10000"/>
                <a:gd name="connsiteY2" fmla="*/ 5561 h 10000"/>
                <a:gd name="connsiteX3" fmla="*/ 10000 w 10000"/>
                <a:gd name="connsiteY3" fmla="*/ 0 h 10000"/>
                <a:gd name="connsiteX4" fmla="*/ 0 w 10000"/>
                <a:gd name="connsiteY4" fmla="*/ 308 h 10000"/>
                <a:gd name="connsiteX0" fmla="*/ 0 w 9864"/>
                <a:gd name="connsiteY0" fmla="*/ 40 h 10000"/>
                <a:gd name="connsiteX1" fmla="*/ 69 w 9864"/>
                <a:gd name="connsiteY1" fmla="*/ 10000 h 10000"/>
                <a:gd name="connsiteX2" fmla="*/ 8052 w 9864"/>
                <a:gd name="connsiteY2" fmla="*/ 5561 h 10000"/>
                <a:gd name="connsiteX3" fmla="*/ 9864 w 9864"/>
                <a:gd name="connsiteY3" fmla="*/ 0 h 10000"/>
                <a:gd name="connsiteX4" fmla="*/ 0 w 9864"/>
                <a:gd name="connsiteY4" fmla="*/ 40 h 10000"/>
                <a:gd name="connsiteX0" fmla="*/ 9 w 9950"/>
                <a:gd name="connsiteY0" fmla="*/ 40 h 10000"/>
                <a:gd name="connsiteX1" fmla="*/ 20 w 9950"/>
                <a:gd name="connsiteY1" fmla="*/ 10000 h 10000"/>
                <a:gd name="connsiteX2" fmla="*/ 8113 w 9950"/>
                <a:gd name="connsiteY2" fmla="*/ 5561 h 10000"/>
                <a:gd name="connsiteX3" fmla="*/ 9950 w 9950"/>
                <a:gd name="connsiteY3" fmla="*/ 0 h 10000"/>
                <a:gd name="connsiteX4" fmla="*/ 9 w 9950"/>
                <a:gd name="connsiteY4" fmla="*/ 40 h 10000"/>
                <a:gd name="connsiteX0" fmla="*/ 19 w 10010"/>
                <a:gd name="connsiteY0" fmla="*/ 40 h 10000"/>
                <a:gd name="connsiteX1" fmla="*/ 30 w 10010"/>
                <a:gd name="connsiteY1" fmla="*/ 10000 h 10000"/>
                <a:gd name="connsiteX2" fmla="*/ 8164 w 10010"/>
                <a:gd name="connsiteY2" fmla="*/ 5561 h 10000"/>
                <a:gd name="connsiteX3" fmla="*/ 10010 w 10010"/>
                <a:gd name="connsiteY3" fmla="*/ 0 h 10000"/>
                <a:gd name="connsiteX4" fmla="*/ 19 w 10010"/>
                <a:gd name="connsiteY4" fmla="*/ 40 h 10000"/>
                <a:gd name="connsiteX0" fmla="*/ 0 w 9991"/>
                <a:gd name="connsiteY0" fmla="*/ 40 h 10000"/>
                <a:gd name="connsiteX1" fmla="*/ 11 w 9991"/>
                <a:gd name="connsiteY1" fmla="*/ 10000 h 10000"/>
                <a:gd name="connsiteX2" fmla="*/ 8145 w 9991"/>
                <a:gd name="connsiteY2" fmla="*/ 5561 h 10000"/>
                <a:gd name="connsiteX3" fmla="*/ 9991 w 9991"/>
                <a:gd name="connsiteY3" fmla="*/ 0 h 10000"/>
                <a:gd name="connsiteX4" fmla="*/ 0 w 9991"/>
                <a:gd name="connsiteY4" fmla="*/ 40 h 10000"/>
                <a:gd name="connsiteX0" fmla="*/ 11 w 10011"/>
                <a:gd name="connsiteY0" fmla="*/ 40 h 10188"/>
                <a:gd name="connsiteX1" fmla="*/ 0 w 10011"/>
                <a:gd name="connsiteY1" fmla="*/ 10188 h 10188"/>
                <a:gd name="connsiteX2" fmla="*/ 8163 w 10011"/>
                <a:gd name="connsiteY2" fmla="*/ 5561 h 10188"/>
                <a:gd name="connsiteX3" fmla="*/ 10011 w 10011"/>
                <a:gd name="connsiteY3" fmla="*/ 0 h 10188"/>
                <a:gd name="connsiteX4" fmla="*/ 11 w 10011"/>
                <a:gd name="connsiteY4" fmla="*/ 40 h 1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11" h="10188">
                  <a:moveTo>
                    <a:pt x="11" y="40"/>
                  </a:moveTo>
                  <a:cubicBezTo>
                    <a:pt x="15" y="3295"/>
                    <a:pt x="2" y="6839"/>
                    <a:pt x="0" y="10188"/>
                  </a:cubicBezTo>
                  <a:lnTo>
                    <a:pt x="8163" y="5561"/>
                  </a:lnTo>
                  <a:lnTo>
                    <a:pt x="10011" y="0"/>
                  </a:lnTo>
                  <a:lnTo>
                    <a:pt x="11" y="40"/>
                  </a:lnTo>
                  <a:close/>
                </a:path>
              </a:pathLst>
            </a:custGeom>
            <a:solidFill>
              <a:srgbClr val="2C41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/>
            </a:p>
          </p:txBody>
        </p:sp>
        <p:sp>
          <p:nvSpPr>
            <p:cNvPr id="22" name="Freeform 6"/>
            <p:cNvSpPr>
              <a:spLocks/>
            </p:cNvSpPr>
            <p:nvPr userDrawn="1"/>
          </p:nvSpPr>
          <p:spPr bwMode="auto">
            <a:xfrm>
              <a:off x="-34838" y="-38715"/>
              <a:ext cx="9011158" cy="801026"/>
            </a:xfrm>
            <a:custGeom>
              <a:avLst/>
              <a:gdLst>
                <a:gd name="T0" fmla="*/ 0 w 5214"/>
                <a:gd name="T1" fmla="*/ 0 h 2191"/>
                <a:gd name="T2" fmla="*/ 0 w 5214"/>
                <a:gd name="T3" fmla="*/ 2191 h 2191"/>
                <a:gd name="T4" fmla="*/ 5214 w 5214"/>
                <a:gd name="T5" fmla="*/ 0 h 2191"/>
                <a:gd name="T6" fmla="*/ 0 w 5214"/>
                <a:gd name="T7" fmla="*/ 0 h 2191"/>
                <a:gd name="connsiteX0" fmla="*/ 0 w 10000"/>
                <a:gd name="connsiteY0" fmla="*/ 0 h 4612"/>
                <a:gd name="connsiteX1" fmla="*/ 5345 w 10000"/>
                <a:gd name="connsiteY1" fmla="*/ 4612 h 4612"/>
                <a:gd name="connsiteX2" fmla="*/ 10000 w 10000"/>
                <a:gd name="connsiteY2" fmla="*/ 0 h 4612"/>
                <a:gd name="connsiteX3" fmla="*/ 0 w 10000"/>
                <a:gd name="connsiteY3" fmla="*/ 0 h 4612"/>
                <a:gd name="connsiteX0" fmla="*/ 0 w 4684"/>
                <a:gd name="connsiteY0" fmla="*/ 74 h 10000"/>
                <a:gd name="connsiteX1" fmla="*/ 29 w 4684"/>
                <a:gd name="connsiteY1" fmla="*/ 10000 h 10000"/>
                <a:gd name="connsiteX2" fmla="*/ 4684 w 4684"/>
                <a:gd name="connsiteY2" fmla="*/ 0 h 10000"/>
                <a:gd name="connsiteX3" fmla="*/ 0 w 4684"/>
                <a:gd name="connsiteY3" fmla="*/ 74 h 10000"/>
                <a:gd name="connsiteX0" fmla="*/ 0 w 10000"/>
                <a:gd name="connsiteY0" fmla="*/ 74 h 9961"/>
                <a:gd name="connsiteX1" fmla="*/ 140 w 10000"/>
                <a:gd name="connsiteY1" fmla="*/ 9961 h 9961"/>
                <a:gd name="connsiteX2" fmla="*/ 10000 w 10000"/>
                <a:gd name="connsiteY2" fmla="*/ 0 h 9961"/>
                <a:gd name="connsiteX3" fmla="*/ 0 w 10000"/>
                <a:gd name="connsiteY3" fmla="*/ 74 h 9961"/>
                <a:gd name="connsiteX0" fmla="*/ 9 w 9866"/>
                <a:gd name="connsiteY0" fmla="*/ 0 h 10081"/>
                <a:gd name="connsiteX1" fmla="*/ 6 w 9866"/>
                <a:gd name="connsiteY1" fmla="*/ 10081 h 10081"/>
                <a:gd name="connsiteX2" fmla="*/ 9866 w 9866"/>
                <a:gd name="connsiteY2" fmla="*/ 81 h 10081"/>
                <a:gd name="connsiteX3" fmla="*/ 9 w 9866"/>
                <a:gd name="connsiteY3" fmla="*/ 0 h 10081"/>
                <a:gd name="connsiteX0" fmla="*/ 9 w 10000"/>
                <a:gd name="connsiteY0" fmla="*/ 36 h 9920"/>
                <a:gd name="connsiteX1" fmla="*/ 6 w 10000"/>
                <a:gd name="connsiteY1" fmla="*/ 9920 h 9920"/>
                <a:gd name="connsiteX2" fmla="*/ 10000 w 10000"/>
                <a:gd name="connsiteY2" fmla="*/ 0 h 9920"/>
                <a:gd name="connsiteX3" fmla="*/ 9 w 10000"/>
                <a:gd name="connsiteY3" fmla="*/ 36 h 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9920">
                  <a:moveTo>
                    <a:pt x="9" y="36"/>
                  </a:moveTo>
                  <a:cubicBezTo>
                    <a:pt x="30" y="3331"/>
                    <a:pt x="-15" y="6625"/>
                    <a:pt x="6" y="9920"/>
                  </a:cubicBezTo>
                  <a:lnTo>
                    <a:pt x="10000" y="0"/>
                  </a:lnTo>
                  <a:lnTo>
                    <a:pt x="9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 dirty="0"/>
            </a:p>
          </p:txBody>
        </p:sp>
        <p:sp>
          <p:nvSpPr>
            <p:cNvPr id="23" name="Freeform 9"/>
            <p:cNvSpPr>
              <a:spLocks/>
            </p:cNvSpPr>
            <p:nvPr/>
          </p:nvSpPr>
          <p:spPr bwMode="auto">
            <a:xfrm>
              <a:off x="-49164" y="-47003"/>
              <a:ext cx="7696089" cy="846767"/>
            </a:xfrm>
            <a:custGeom>
              <a:avLst/>
              <a:gdLst>
                <a:gd name="T0" fmla="*/ 0 w 4051"/>
                <a:gd name="T1" fmla="*/ 0 h 1363"/>
                <a:gd name="T2" fmla="*/ 0 w 4051"/>
                <a:gd name="T3" fmla="*/ 1363 h 1363"/>
                <a:gd name="T4" fmla="*/ 4051 w 4051"/>
                <a:gd name="T5" fmla="*/ 0 h 1363"/>
                <a:gd name="T6" fmla="*/ 0 w 4051"/>
                <a:gd name="T7" fmla="*/ 0 h 1363"/>
                <a:gd name="connsiteX0" fmla="*/ 6861 w 10000"/>
                <a:gd name="connsiteY0" fmla="*/ 0 h 10164"/>
                <a:gd name="connsiteX1" fmla="*/ 0 w 10000"/>
                <a:gd name="connsiteY1" fmla="*/ 10164 h 10164"/>
                <a:gd name="connsiteX2" fmla="*/ 10000 w 10000"/>
                <a:gd name="connsiteY2" fmla="*/ 164 h 10164"/>
                <a:gd name="connsiteX3" fmla="*/ 6861 w 10000"/>
                <a:gd name="connsiteY3" fmla="*/ 0 h 10164"/>
                <a:gd name="connsiteX0" fmla="*/ 18 w 3157"/>
                <a:gd name="connsiteY0" fmla="*/ 0 h 3312"/>
                <a:gd name="connsiteX1" fmla="*/ 0 w 3157"/>
                <a:gd name="connsiteY1" fmla="*/ 3312 h 3312"/>
                <a:gd name="connsiteX2" fmla="*/ 3157 w 3157"/>
                <a:gd name="connsiteY2" fmla="*/ 164 h 3312"/>
                <a:gd name="connsiteX3" fmla="*/ 18 w 3157"/>
                <a:gd name="connsiteY3" fmla="*/ 0 h 3312"/>
                <a:gd name="connsiteX0" fmla="*/ 57 w 10409"/>
                <a:gd name="connsiteY0" fmla="*/ 167 h 10167"/>
                <a:gd name="connsiteX1" fmla="*/ 0 w 10409"/>
                <a:gd name="connsiteY1" fmla="*/ 10167 h 10167"/>
                <a:gd name="connsiteX2" fmla="*/ 10409 w 10409"/>
                <a:gd name="connsiteY2" fmla="*/ 0 h 10167"/>
                <a:gd name="connsiteX3" fmla="*/ 57 w 10409"/>
                <a:gd name="connsiteY3" fmla="*/ 167 h 10167"/>
                <a:gd name="connsiteX0" fmla="*/ 181 w 10409"/>
                <a:gd name="connsiteY0" fmla="*/ 9 h 10269"/>
                <a:gd name="connsiteX1" fmla="*/ 0 w 10409"/>
                <a:gd name="connsiteY1" fmla="*/ 10269 h 10269"/>
                <a:gd name="connsiteX2" fmla="*/ 10409 w 10409"/>
                <a:gd name="connsiteY2" fmla="*/ 102 h 10269"/>
                <a:gd name="connsiteX3" fmla="*/ 181 w 10409"/>
                <a:gd name="connsiteY3" fmla="*/ 9 h 10269"/>
                <a:gd name="connsiteX0" fmla="*/ 3 w 10231"/>
                <a:gd name="connsiteY0" fmla="*/ 9 h 10269"/>
                <a:gd name="connsiteX1" fmla="*/ 46 w 10231"/>
                <a:gd name="connsiteY1" fmla="*/ 10269 h 10269"/>
                <a:gd name="connsiteX2" fmla="*/ 10231 w 10231"/>
                <a:gd name="connsiteY2" fmla="*/ 102 h 10269"/>
                <a:gd name="connsiteX3" fmla="*/ 3 w 10231"/>
                <a:gd name="connsiteY3" fmla="*/ 9 h 10269"/>
                <a:gd name="connsiteX0" fmla="*/ 0 w 10228"/>
                <a:gd name="connsiteY0" fmla="*/ 9 h 10269"/>
                <a:gd name="connsiteX1" fmla="*/ 43 w 10228"/>
                <a:gd name="connsiteY1" fmla="*/ 10269 h 10269"/>
                <a:gd name="connsiteX2" fmla="*/ 10228 w 10228"/>
                <a:gd name="connsiteY2" fmla="*/ 102 h 10269"/>
                <a:gd name="connsiteX3" fmla="*/ 0 w 10228"/>
                <a:gd name="connsiteY3" fmla="*/ 9 h 10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28" h="10269">
                  <a:moveTo>
                    <a:pt x="0" y="9"/>
                  </a:moveTo>
                  <a:cubicBezTo>
                    <a:pt x="56" y="10013"/>
                    <a:pt x="62" y="6936"/>
                    <a:pt x="43" y="10269"/>
                  </a:cubicBezTo>
                  <a:lnTo>
                    <a:pt x="10228" y="102"/>
                  </a:lnTo>
                  <a:cubicBezTo>
                    <a:pt x="6777" y="158"/>
                    <a:pt x="3451" y="-47"/>
                    <a:pt x="0" y="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/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-34838" y="-38715"/>
              <a:ext cx="8147061" cy="529742"/>
            </a:xfrm>
            <a:custGeom>
              <a:avLst/>
              <a:gdLst>
                <a:gd name="T0" fmla="*/ 0 w 5214"/>
                <a:gd name="T1" fmla="*/ 0 h 2191"/>
                <a:gd name="T2" fmla="*/ 0 w 5214"/>
                <a:gd name="T3" fmla="*/ 2191 h 2191"/>
                <a:gd name="T4" fmla="*/ 5214 w 5214"/>
                <a:gd name="T5" fmla="*/ 0 h 2191"/>
                <a:gd name="T6" fmla="*/ 0 w 5214"/>
                <a:gd name="T7" fmla="*/ 0 h 2191"/>
                <a:gd name="connsiteX0" fmla="*/ 0 w 10000"/>
                <a:gd name="connsiteY0" fmla="*/ 0 h 4612"/>
                <a:gd name="connsiteX1" fmla="*/ 5345 w 10000"/>
                <a:gd name="connsiteY1" fmla="*/ 4612 h 4612"/>
                <a:gd name="connsiteX2" fmla="*/ 10000 w 10000"/>
                <a:gd name="connsiteY2" fmla="*/ 0 h 4612"/>
                <a:gd name="connsiteX3" fmla="*/ 0 w 10000"/>
                <a:gd name="connsiteY3" fmla="*/ 0 h 4612"/>
                <a:gd name="connsiteX0" fmla="*/ 0 w 4684"/>
                <a:gd name="connsiteY0" fmla="*/ 74 h 10000"/>
                <a:gd name="connsiteX1" fmla="*/ 29 w 4684"/>
                <a:gd name="connsiteY1" fmla="*/ 10000 h 10000"/>
                <a:gd name="connsiteX2" fmla="*/ 4684 w 4684"/>
                <a:gd name="connsiteY2" fmla="*/ 0 h 10000"/>
                <a:gd name="connsiteX3" fmla="*/ 0 w 4684"/>
                <a:gd name="connsiteY3" fmla="*/ 74 h 10000"/>
                <a:gd name="connsiteX0" fmla="*/ 0 w 10000"/>
                <a:gd name="connsiteY0" fmla="*/ 74 h 9961"/>
                <a:gd name="connsiteX1" fmla="*/ 140 w 10000"/>
                <a:gd name="connsiteY1" fmla="*/ 9961 h 9961"/>
                <a:gd name="connsiteX2" fmla="*/ 10000 w 10000"/>
                <a:gd name="connsiteY2" fmla="*/ 0 h 9961"/>
                <a:gd name="connsiteX3" fmla="*/ 0 w 10000"/>
                <a:gd name="connsiteY3" fmla="*/ 74 h 9961"/>
                <a:gd name="connsiteX0" fmla="*/ 9 w 9866"/>
                <a:gd name="connsiteY0" fmla="*/ 0 h 10081"/>
                <a:gd name="connsiteX1" fmla="*/ 6 w 9866"/>
                <a:gd name="connsiteY1" fmla="*/ 10081 h 10081"/>
                <a:gd name="connsiteX2" fmla="*/ 9866 w 9866"/>
                <a:gd name="connsiteY2" fmla="*/ 81 h 10081"/>
                <a:gd name="connsiteX3" fmla="*/ 9 w 9866"/>
                <a:gd name="connsiteY3" fmla="*/ 0 h 10081"/>
                <a:gd name="connsiteX0" fmla="*/ 9 w 10000"/>
                <a:gd name="connsiteY0" fmla="*/ 36 h 9920"/>
                <a:gd name="connsiteX1" fmla="*/ 6 w 10000"/>
                <a:gd name="connsiteY1" fmla="*/ 9920 h 9920"/>
                <a:gd name="connsiteX2" fmla="*/ 10000 w 10000"/>
                <a:gd name="connsiteY2" fmla="*/ 0 h 9920"/>
                <a:gd name="connsiteX3" fmla="*/ 9 w 10000"/>
                <a:gd name="connsiteY3" fmla="*/ 36 h 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9920">
                  <a:moveTo>
                    <a:pt x="9" y="36"/>
                  </a:moveTo>
                  <a:cubicBezTo>
                    <a:pt x="30" y="3331"/>
                    <a:pt x="-15" y="6625"/>
                    <a:pt x="6" y="9920"/>
                  </a:cubicBezTo>
                  <a:lnTo>
                    <a:pt x="10000" y="0"/>
                  </a:lnTo>
                  <a:lnTo>
                    <a:pt x="9" y="36"/>
                  </a:lnTo>
                  <a:close/>
                </a:path>
              </a:pathLst>
            </a:custGeom>
            <a:solidFill>
              <a:srgbClr val="B128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 dirty="0"/>
            </a:p>
          </p:txBody>
        </p:sp>
      </p:grpSp>
      <p:sp>
        <p:nvSpPr>
          <p:cNvPr id="10" name="Banderole Bottom"/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0" y="6602401"/>
            <a:ext cx="12192000" cy="263283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600" b="0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84" name="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902677" y="856801"/>
            <a:ext cx="10505831" cy="773999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5" name="Slide Number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1416792" y="117967"/>
            <a:ext cx="530786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1125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l" defTabSz="112544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nderole Bottom"/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0" y="6602401"/>
            <a:ext cx="12192000" cy="263283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600" b="0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8" name="Slide Number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1708432" y="164667"/>
            <a:ext cx="530786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1125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l" defTabSz="112544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Location, date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1444431" y="6066000"/>
            <a:ext cx="9441968" cy="370800"/>
          </a:xfrm>
        </p:spPr>
        <p:txBody>
          <a:bodyPr vert="horz" wrap="square" lIns="28800" tIns="0" rIns="0" bIns="0" rtlCol="0" anchor="b" anchorCtr="0">
            <a:noAutofit/>
          </a:bodyPr>
          <a:lstStyle>
            <a:lvl1pPr marL="0" indent="0">
              <a:lnSpc>
                <a:spcPct val="93000"/>
              </a:lnSpc>
              <a:spcBef>
                <a:spcPts val="0"/>
              </a:spcBef>
              <a:defRPr kumimoji="0" lang="en-US" sz="2092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marL="0" marR="0" lvl="0" indent="0" algn="l" defTabSz="1125444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cation, date of presentation (month, day, year)</a:t>
            </a:r>
            <a:endParaRPr lang="en-US" dirty="0"/>
          </a:p>
        </p:txBody>
      </p:sp>
      <p:sp>
        <p:nvSpPr>
          <p:cNvPr id="5" name="Type of document"/>
          <p:cNvSpPr>
            <a:spLocks noGrp="1"/>
          </p:cNvSpPr>
          <p:nvPr>
            <p:ph type="body" sz="quarter" idx="15" hasCustomPrompt="1"/>
            <p:custDataLst>
              <p:tags r:id="rId2"/>
            </p:custDataLst>
          </p:nvPr>
        </p:nvSpPr>
        <p:spPr>
          <a:xfrm>
            <a:off x="1444431" y="4566721"/>
            <a:ext cx="9441968" cy="799487"/>
          </a:xfrm>
        </p:spPr>
        <p:txBody>
          <a:bodyPr vert="horz" lIns="14400" tIns="0" rIns="0" bIns="216000" rtlCol="0" anchor="t" anchorCtr="0">
            <a:spAutoFit/>
          </a:bodyPr>
          <a:lstStyle>
            <a:lvl1pPr marL="0" indent="0">
              <a:lnSpc>
                <a:spcPct val="93000"/>
              </a:lnSpc>
              <a:spcBef>
                <a:spcPts val="0"/>
              </a:spcBef>
              <a:defRPr kumimoji="0" lang="en-US" sz="4062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1125444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ype of document</a:t>
            </a:r>
            <a:endParaRPr lang="en-US" dirty="0"/>
          </a:p>
        </p:txBody>
      </p:sp>
      <p:sp>
        <p:nvSpPr>
          <p:cNvPr id="6" name="Project name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444431" y="3498550"/>
            <a:ext cx="9441968" cy="1003801"/>
          </a:xfrm>
        </p:spPr>
        <p:txBody>
          <a:bodyPr vert="horz" lIns="0" tIns="0" rIns="0" bIns="0" rtlCol="0" anchor="b" anchorCtr="0">
            <a:spAutoFit/>
          </a:bodyPr>
          <a:lstStyle>
            <a:lvl1pPr algn="l">
              <a:lnSpc>
                <a:spcPct val="93000"/>
              </a:lnSpc>
              <a:spcBef>
                <a:spcPts val="0"/>
              </a:spcBef>
              <a:defRPr kumimoji="0" lang="en-US" sz="6523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1254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4" name="Slide Number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1708432" y="164667"/>
            <a:ext cx="530786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1125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l" defTabSz="112544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Группа 29"/>
          <p:cNvGrpSpPr/>
          <p:nvPr userDrawn="1"/>
        </p:nvGrpSpPr>
        <p:grpSpPr>
          <a:xfrm>
            <a:off x="-49164" y="-47003"/>
            <a:ext cx="12251487" cy="846767"/>
            <a:chOff x="-49164" y="-47003"/>
            <a:chExt cx="12251487" cy="846767"/>
          </a:xfrm>
        </p:grpSpPr>
        <p:sp>
          <p:nvSpPr>
            <p:cNvPr id="31" name="Freeform 8"/>
            <p:cNvSpPr>
              <a:spLocks/>
            </p:cNvSpPr>
            <p:nvPr/>
          </p:nvSpPr>
          <p:spPr bwMode="auto">
            <a:xfrm flipH="1">
              <a:off x="1775518" y="-47003"/>
              <a:ext cx="10426805" cy="606941"/>
            </a:xfrm>
            <a:custGeom>
              <a:avLst/>
              <a:gdLst>
                <a:gd name="T0" fmla="*/ 0 w 4406"/>
                <a:gd name="T1" fmla="*/ 0 h 1436"/>
                <a:gd name="T2" fmla="*/ 0 w 4406"/>
                <a:gd name="T3" fmla="*/ 1436 h 1436"/>
                <a:gd name="T4" fmla="*/ 4110 w 4406"/>
                <a:gd name="T5" fmla="*/ 405 h 1436"/>
                <a:gd name="T6" fmla="*/ 4406 w 4406"/>
                <a:gd name="T7" fmla="*/ 0 h 1436"/>
                <a:gd name="T8" fmla="*/ 0 w 4406"/>
                <a:gd name="T9" fmla="*/ 0 h 1436"/>
                <a:gd name="connsiteX0" fmla="*/ 0 w 10000"/>
                <a:gd name="connsiteY0" fmla="*/ 0 h 5109"/>
                <a:gd name="connsiteX1" fmla="*/ 6359 w 10000"/>
                <a:gd name="connsiteY1" fmla="*/ 5109 h 5109"/>
                <a:gd name="connsiteX2" fmla="*/ 9328 w 10000"/>
                <a:gd name="connsiteY2" fmla="*/ 2820 h 5109"/>
                <a:gd name="connsiteX3" fmla="*/ 10000 w 10000"/>
                <a:gd name="connsiteY3" fmla="*/ 0 h 5109"/>
                <a:gd name="connsiteX4" fmla="*/ 0 w 10000"/>
                <a:gd name="connsiteY4" fmla="*/ 0 h 5109"/>
                <a:gd name="connsiteX0" fmla="*/ 0 w 3709"/>
                <a:gd name="connsiteY0" fmla="*/ 306 h 10000"/>
                <a:gd name="connsiteX1" fmla="*/ 68 w 3709"/>
                <a:gd name="connsiteY1" fmla="*/ 10000 h 10000"/>
                <a:gd name="connsiteX2" fmla="*/ 3037 w 3709"/>
                <a:gd name="connsiteY2" fmla="*/ 5520 h 10000"/>
                <a:gd name="connsiteX3" fmla="*/ 3709 w 3709"/>
                <a:gd name="connsiteY3" fmla="*/ 0 h 10000"/>
                <a:gd name="connsiteX4" fmla="*/ 0 w 3709"/>
                <a:gd name="connsiteY4" fmla="*/ 306 h 10000"/>
                <a:gd name="connsiteX0" fmla="*/ 0 w 10000"/>
                <a:gd name="connsiteY0" fmla="*/ 306 h 9927"/>
                <a:gd name="connsiteX1" fmla="*/ 49 w 10000"/>
                <a:gd name="connsiteY1" fmla="*/ 9927 h 9927"/>
                <a:gd name="connsiteX2" fmla="*/ 8188 w 10000"/>
                <a:gd name="connsiteY2" fmla="*/ 5520 h 9927"/>
                <a:gd name="connsiteX3" fmla="*/ 10000 w 10000"/>
                <a:gd name="connsiteY3" fmla="*/ 0 h 9927"/>
                <a:gd name="connsiteX4" fmla="*/ 0 w 10000"/>
                <a:gd name="connsiteY4" fmla="*/ 306 h 9927"/>
                <a:gd name="connsiteX0" fmla="*/ 0 w 10000"/>
                <a:gd name="connsiteY0" fmla="*/ 308 h 10000"/>
                <a:gd name="connsiteX1" fmla="*/ 205 w 10000"/>
                <a:gd name="connsiteY1" fmla="*/ 10000 h 10000"/>
                <a:gd name="connsiteX2" fmla="*/ 8188 w 10000"/>
                <a:gd name="connsiteY2" fmla="*/ 5561 h 10000"/>
                <a:gd name="connsiteX3" fmla="*/ 10000 w 10000"/>
                <a:gd name="connsiteY3" fmla="*/ 0 h 10000"/>
                <a:gd name="connsiteX4" fmla="*/ 0 w 10000"/>
                <a:gd name="connsiteY4" fmla="*/ 308 h 10000"/>
                <a:gd name="connsiteX0" fmla="*/ 0 w 9864"/>
                <a:gd name="connsiteY0" fmla="*/ 40 h 10000"/>
                <a:gd name="connsiteX1" fmla="*/ 69 w 9864"/>
                <a:gd name="connsiteY1" fmla="*/ 10000 h 10000"/>
                <a:gd name="connsiteX2" fmla="*/ 8052 w 9864"/>
                <a:gd name="connsiteY2" fmla="*/ 5561 h 10000"/>
                <a:gd name="connsiteX3" fmla="*/ 9864 w 9864"/>
                <a:gd name="connsiteY3" fmla="*/ 0 h 10000"/>
                <a:gd name="connsiteX4" fmla="*/ 0 w 9864"/>
                <a:gd name="connsiteY4" fmla="*/ 40 h 10000"/>
                <a:gd name="connsiteX0" fmla="*/ 9 w 9950"/>
                <a:gd name="connsiteY0" fmla="*/ 40 h 10000"/>
                <a:gd name="connsiteX1" fmla="*/ 20 w 9950"/>
                <a:gd name="connsiteY1" fmla="*/ 10000 h 10000"/>
                <a:gd name="connsiteX2" fmla="*/ 8113 w 9950"/>
                <a:gd name="connsiteY2" fmla="*/ 5561 h 10000"/>
                <a:gd name="connsiteX3" fmla="*/ 9950 w 9950"/>
                <a:gd name="connsiteY3" fmla="*/ 0 h 10000"/>
                <a:gd name="connsiteX4" fmla="*/ 9 w 9950"/>
                <a:gd name="connsiteY4" fmla="*/ 40 h 10000"/>
                <a:gd name="connsiteX0" fmla="*/ 19 w 10010"/>
                <a:gd name="connsiteY0" fmla="*/ 40 h 10000"/>
                <a:gd name="connsiteX1" fmla="*/ 30 w 10010"/>
                <a:gd name="connsiteY1" fmla="*/ 10000 h 10000"/>
                <a:gd name="connsiteX2" fmla="*/ 8164 w 10010"/>
                <a:gd name="connsiteY2" fmla="*/ 5561 h 10000"/>
                <a:gd name="connsiteX3" fmla="*/ 10010 w 10010"/>
                <a:gd name="connsiteY3" fmla="*/ 0 h 10000"/>
                <a:gd name="connsiteX4" fmla="*/ 19 w 10010"/>
                <a:gd name="connsiteY4" fmla="*/ 40 h 10000"/>
                <a:gd name="connsiteX0" fmla="*/ 0 w 9991"/>
                <a:gd name="connsiteY0" fmla="*/ 40 h 10000"/>
                <a:gd name="connsiteX1" fmla="*/ 11 w 9991"/>
                <a:gd name="connsiteY1" fmla="*/ 10000 h 10000"/>
                <a:gd name="connsiteX2" fmla="*/ 8145 w 9991"/>
                <a:gd name="connsiteY2" fmla="*/ 5561 h 10000"/>
                <a:gd name="connsiteX3" fmla="*/ 9991 w 9991"/>
                <a:gd name="connsiteY3" fmla="*/ 0 h 10000"/>
                <a:gd name="connsiteX4" fmla="*/ 0 w 9991"/>
                <a:gd name="connsiteY4" fmla="*/ 40 h 10000"/>
                <a:gd name="connsiteX0" fmla="*/ 11 w 10011"/>
                <a:gd name="connsiteY0" fmla="*/ 40 h 10188"/>
                <a:gd name="connsiteX1" fmla="*/ 0 w 10011"/>
                <a:gd name="connsiteY1" fmla="*/ 10188 h 10188"/>
                <a:gd name="connsiteX2" fmla="*/ 8163 w 10011"/>
                <a:gd name="connsiteY2" fmla="*/ 5561 h 10188"/>
                <a:gd name="connsiteX3" fmla="*/ 10011 w 10011"/>
                <a:gd name="connsiteY3" fmla="*/ 0 h 10188"/>
                <a:gd name="connsiteX4" fmla="*/ 11 w 10011"/>
                <a:gd name="connsiteY4" fmla="*/ 40 h 1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11" h="10188">
                  <a:moveTo>
                    <a:pt x="11" y="40"/>
                  </a:moveTo>
                  <a:cubicBezTo>
                    <a:pt x="15" y="3295"/>
                    <a:pt x="2" y="6839"/>
                    <a:pt x="0" y="10188"/>
                  </a:cubicBezTo>
                  <a:lnTo>
                    <a:pt x="8163" y="5561"/>
                  </a:lnTo>
                  <a:lnTo>
                    <a:pt x="10011" y="0"/>
                  </a:lnTo>
                  <a:lnTo>
                    <a:pt x="11" y="40"/>
                  </a:lnTo>
                  <a:close/>
                </a:path>
              </a:pathLst>
            </a:custGeom>
            <a:solidFill>
              <a:srgbClr val="2C41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/>
            </a:p>
          </p:txBody>
        </p:sp>
        <p:sp>
          <p:nvSpPr>
            <p:cNvPr id="32" name="Freeform 6"/>
            <p:cNvSpPr>
              <a:spLocks/>
            </p:cNvSpPr>
            <p:nvPr userDrawn="1"/>
          </p:nvSpPr>
          <p:spPr bwMode="auto">
            <a:xfrm>
              <a:off x="-34838" y="-38715"/>
              <a:ext cx="9011158" cy="801026"/>
            </a:xfrm>
            <a:custGeom>
              <a:avLst/>
              <a:gdLst>
                <a:gd name="T0" fmla="*/ 0 w 5214"/>
                <a:gd name="T1" fmla="*/ 0 h 2191"/>
                <a:gd name="T2" fmla="*/ 0 w 5214"/>
                <a:gd name="T3" fmla="*/ 2191 h 2191"/>
                <a:gd name="T4" fmla="*/ 5214 w 5214"/>
                <a:gd name="T5" fmla="*/ 0 h 2191"/>
                <a:gd name="T6" fmla="*/ 0 w 5214"/>
                <a:gd name="T7" fmla="*/ 0 h 2191"/>
                <a:gd name="connsiteX0" fmla="*/ 0 w 10000"/>
                <a:gd name="connsiteY0" fmla="*/ 0 h 4612"/>
                <a:gd name="connsiteX1" fmla="*/ 5345 w 10000"/>
                <a:gd name="connsiteY1" fmla="*/ 4612 h 4612"/>
                <a:gd name="connsiteX2" fmla="*/ 10000 w 10000"/>
                <a:gd name="connsiteY2" fmla="*/ 0 h 4612"/>
                <a:gd name="connsiteX3" fmla="*/ 0 w 10000"/>
                <a:gd name="connsiteY3" fmla="*/ 0 h 4612"/>
                <a:gd name="connsiteX0" fmla="*/ 0 w 4684"/>
                <a:gd name="connsiteY0" fmla="*/ 74 h 10000"/>
                <a:gd name="connsiteX1" fmla="*/ 29 w 4684"/>
                <a:gd name="connsiteY1" fmla="*/ 10000 h 10000"/>
                <a:gd name="connsiteX2" fmla="*/ 4684 w 4684"/>
                <a:gd name="connsiteY2" fmla="*/ 0 h 10000"/>
                <a:gd name="connsiteX3" fmla="*/ 0 w 4684"/>
                <a:gd name="connsiteY3" fmla="*/ 74 h 10000"/>
                <a:gd name="connsiteX0" fmla="*/ 0 w 10000"/>
                <a:gd name="connsiteY0" fmla="*/ 74 h 9961"/>
                <a:gd name="connsiteX1" fmla="*/ 140 w 10000"/>
                <a:gd name="connsiteY1" fmla="*/ 9961 h 9961"/>
                <a:gd name="connsiteX2" fmla="*/ 10000 w 10000"/>
                <a:gd name="connsiteY2" fmla="*/ 0 h 9961"/>
                <a:gd name="connsiteX3" fmla="*/ 0 w 10000"/>
                <a:gd name="connsiteY3" fmla="*/ 74 h 9961"/>
                <a:gd name="connsiteX0" fmla="*/ 9 w 9866"/>
                <a:gd name="connsiteY0" fmla="*/ 0 h 10081"/>
                <a:gd name="connsiteX1" fmla="*/ 6 w 9866"/>
                <a:gd name="connsiteY1" fmla="*/ 10081 h 10081"/>
                <a:gd name="connsiteX2" fmla="*/ 9866 w 9866"/>
                <a:gd name="connsiteY2" fmla="*/ 81 h 10081"/>
                <a:gd name="connsiteX3" fmla="*/ 9 w 9866"/>
                <a:gd name="connsiteY3" fmla="*/ 0 h 10081"/>
                <a:gd name="connsiteX0" fmla="*/ 9 w 10000"/>
                <a:gd name="connsiteY0" fmla="*/ 36 h 9920"/>
                <a:gd name="connsiteX1" fmla="*/ 6 w 10000"/>
                <a:gd name="connsiteY1" fmla="*/ 9920 h 9920"/>
                <a:gd name="connsiteX2" fmla="*/ 10000 w 10000"/>
                <a:gd name="connsiteY2" fmla="*/ 0 h 9920"/>
                <a:gd name="connsiteX3" fmla="*/ 9 w 10000"/>
                <a:gd name="connsiteY3" fmla="*/ 36 h 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9920">
                  <a:moveTo>
                    <a:pt x="9" y="36"/>
                  </a:moveTo>
                  <a:cubicBezTo>
                    <a:pt x="30" y="3331"/>
                    <a:pt x="-15" y="6625"/>
                    <a:pt x="6" y="9920"/>
                  </a:cubicBezTo>
                  <a:lnTo>
                    <a:pt x="10000" y="0"/>
                  </a:lnTo>
                  <a:lnTo>
                    <a:pt x="9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 dirty="0"/>
            </a:p>
          </p:txBody>
        </p:sp>
        <p:sp>
          <p:nvSpPr>
            <p:cNvPr id="33" name="Freeform 9"/>
            <p:cNvSpPr>
              <a:spLocks/>
            </p:cNvSpPr>
            <p:nvPr/>
          </p:nvSpPr>
          <p:spPr bwMode="auto">
            <a:xfrm>
              <a:off x="-49164" y="-47003"/>
              <a:ext cx="7696089" cy="846767"/>
            </a:xfrm>
            <a:custGeom>
              <a:avLst/>
              <a:gdLst>
                <a:gd name="T0" fmla="*/ 0 w 4051"/>
                <a:gd name="T1" fmla="*/ 0 h 1363"/>
                <a:gd name="T2" fmla="*/ 0 w 4051"/>
                <a:gd name="T3" fmla="*/ 1363 h 1363"/>
                <a:gd name="T4" fmla="*/ 4051 w 4051"/>
                <a:gd name="T5" fmla="*/ 0 h 1363"/>
                <a:gd name="T6" fmla="*/ 0 w 4051"/>
                <a:gd name="T7" fmla="*/ 0 h 1363"/>
                <a:gd name="connsiteX0" fmla="*/ 6861 w 10000"/>
                <a:gd name="connsiteY0" fmla="*/ 0 h 10164"/>
                <a:gd name="connsiteX1" fmla="*/ 0 w 10000"/>
                <a:gd name="connsiteY1" fmla="*/ 10164 h 10164"/>
                <a:gd name="connsiteX2" fmla="*/ 10000 w 10000"/>
                <a:gd name="connsiteY2" fmla="*/ 164 h 10164"/>
                <a:gd name="connsiteX3" fmla="*/ 6861 w 10000"/>
                <a:gd name="connsiteY3" fmla="*/ 0 h 10164"/>
                <a:gd name="connsiteX0" fmla="*/ 18 w 3157"/>
                <a:gd name="connsiteY0" fmla="*/ 0 h 3312"/>
                <a:gd name="connsiteX1" fmla="*/ 0 w 3157"/>
                <a:gd name="connsiteY1" fmla="*/ 3312 h 3312"/>
                <a:gd name="connsiteX2" fmla="*/ 3157 w 3157"/>
                <a:gd name="connsiteY2" fmla="*/ 164 h 3312"/>
                <a:gd name="connsiteX3" fmla="*/ 18 w 3157"/>
                <a:gd name="connsiteY3" fmla="*/ 0 h 3312"/>
                <a:gd name="connsiteX0" fmla="*/ 57 w 10409"/>
                <a:gd name="connsiteY0" fmla="*/ 167 h 10167"/>
                <a:gd name="connsiteX1" fmla="*/ 0 w 10409"/>
                <a:gd name="connsiteY1" fmla="*/ 10167 h 10167"/>
                <a:gd name="connsiteX2" fmla="*/ 10409 w 10409"/>
                <a:gd name="connsiteY2" fmla="*/ 0 h 10167"/>
                <a:gd name="connsiteX3" fmla="*/ 57 w 10409"/>
                <a:gd name="connsiteY3" fmla="*/ 167 h 10167"/>
                <a:gd name="connsiteX0" fmla="*/ 181 w 10409"/>
                <a:gd name="connsiteY0" fmla="*/ 9 h 10269"/>
                <a:gd name="connsiteX1" fmla="*/ 0 w 10409"/>
                <a:gd name="connsiteY1" fmla="*/ 10269 h 10269"/>
                <a:gd name="connsiteX2" fmla="*/ 10409 w 10409"/>
                <a:gd name="connsiteY2" fmla="*/ 102 h 10269"/>
                <a:gd name="connsiteX3" fmla="*/ 181 w 10409"/>
                <a:gd name="connsiteY3" fmla="*/ 9 h 10269"/>
                <a:gd name="connsiteX0" fmla="*/ 3 w 10231"/>
                <a:gd name="connsiteY0" fmla="*/ 9 h 10269"/>
                <a:gd name="connsiteX1" fmla="*/ 46 w 10231"/>
                <a:gd name="connsiteY1" fmla="*/ 10269 h 10269"/>
                <a:gd name="connsiteX2" fmla="*/ 10231 w 10231"/>
                <a:gd name="connsiteY2" fmla="*/ 102 h 10269"/>
                <a:gd name="connsiteX3" fmla="*/ 3 w 10231"/>
                <a:gd name="connsiteY3" fmla="*/ 9 h 10269"/>
                <a:gd name="connsiteX0" fmla="*/ 0 w 10228"/>
                <a:gd name="connsiteY0" fmla="*/ 9 h 10269"/>
                <a:gd name="connsiteX1" fmla="*/ 43 w 10228"/>
                <a:gd name="connsiteY1" fmla="*/ 10269 h 10269"/>
                <a:gd name="connsiteX2" fmla="*/ 10228 w 10228"/>
                <a:gd name="connsiteY2" fmla="*/ 102 h 10269"/>
                <a:gd name="connsiteX3" fmla="*/ 0 w 10228"/>
                <a:gd name="connsiteY3" fmla="*/ 9 h 10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28" h="10269">
                  <a:moveTo>
                    <a:pt x="0" y="9"/>
                  </a:moveTo>
                  <a:cubicBezTo>
                    <a:pt x="56" y="10013"/>
                    <a:pt x="62" y="6936"/>
                    <a:pt x="43" y="10269"/>
                  </a:cubicBezTo>
                  <a:lnTo>
                    <a:pt x="10228" y="102"/>
                  </a:lnTo>
                  <a:cubicBezTo>
                    <a:pt x="6777" y="158"/>
                    <a:pt x="3451" y="-47"/>
                    <a:pt x="0" y="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/>
            </a:p>
          </p:txBody>
        </p:sp>
        <p:sp>
          <p:nvSpPr>
            <p:cNvPr id="34" name="Freeform 6"/>
            <p:cNvSpPr>
              <a:spLocks/>
            </p:cNvSpPr>
            <p:nvPr/>
          </p:nvSpPr>
          <p:spPr bwMode="auto">
            <a:xfrm>
              <a:off x="-34838" y="-38715"/>
              <a:ext cx="8147061" cy="529742"/>
            </a:xfrm>
            <a:custGeom>
              <a:avLst/>
              <a:gdLst>
                <a:gd name="T0" fmla="*/ 0 w 5214"/>
                <a:gd name="T1" fmla="*/ 0 h 2191"/>
                <a:gd name="T2" fmla="*/ 0 w 5214"/>
                <a:gd name="T3" fmla="*/ 2191 h 2191"/>
                <a:gd name="T4" fmla="*/ 5214 w 5214"/>
                <a:gd name="T5" fmla="*/ 0 h 2191"/>
                <a:gd name="T6" fmla="*/ 0 w 5214"/>
                <a:gd name="T7" fmla="*/ 0 h 2191"/>
                <a:gd name="connsiteX0" fmla="*/ 0 w 10000"/>
                <a:gd name="connsiteY0" fmla="*/ 0 h 4612"/>
                <a:gd name="connsiteX1" fmla="*/ 5345 w 10000"/>
                <a:gd name="connsiteY1" fmla="*/ 4612 h 4612"/>
                <a:gd name="connsiteX2" fmla="*/ 10000 w 10000"/>
                <a:gd name="connsiteY2" fmla="*/ 0 h 4612"/>
                <a:gd name="connsiteX3" fmla="*/ 0 w 10000"/>
                <a:gd name="connsiteY3" fmla="*/ 0 h 4612"/>
                <a:gd name="connsiteX0" fmla="*/ 0 w 4684"/>
                <a:gd name="connsiteY0" fmla="*/ 74 h 10000"/>
                <a:gd name="connsiteX1" fmla="*/ 29 w 4684"/>
                <a:gd name="connsiteY1" fmla="*/ 10000 h 10000"/>
                <a:gd name="connsiteX2" fmla="*/ 4684 w 4684"/>
                <a:gd name="connsiteY2" fmla="*/ 0 h 10000"/>
                <a:gd name="connsiteX3" fmla="*/ 0 w 4684"/>
                <a:gd name="connsiteY3" fmla="*/ 74 h 10000"/>
                <a:gd name="connsiteX0" fmla="*/ 0 w 10000"/>
                <a:gd name="connsiteY0" fmla="*/ 74 h 9961"/>
                <a:gd name="connsiteX1" fmla="*/ 140 w 10000"/>
                <a:gd name="connsiteY1" fmla="*/ 9961 h 9961"/>
                <a:gd name="connsiteX2" fmla="*/ 10000 w 10000"/>
                <a:gd name="connsiteY2" fmla="*/ 0 h 9961"/>
                <a:gd name="connsiteX3" fmla="*/ 0 w 10000"/>
                <a:gd name="connsiteY3" fmla="*/ 74 h 9961"/>
                <a:gd name="connsiteX0" fmla="*/ 9 w 9866"/>
                <a:gd name="connsiteY0" fmla="*/ 0 h 10081"/>
                <a:gd name="connsiteX1" fmla="*/ 6 w 9866"/>
                <a:gd name="connsiteY1" fmla="*/ 10081 h 10081"/>
                <a:gd name="connsiteX2" fmla="*/ 9866 w 9866"/>
                <a:gd name="connsiteY2" fmla="*/ 81 h 10081"/>
                <a:gd name="connsiteX3" fmla="*/ 9 w 9866"/>
                <a:gd name="connsiteY3" fmla="*/ 0 h 10081"/>
                <a:gd name="connsiteX0" fmla="*/ 9 w 10000"/>
                <a:gd name="connsiteY0" fmla="*/ 36 h 9920"/>
                <a:gd name="connsiteX1" fmla="*/ 6 w 10000"/>
                <a:gd name="connsiteY1" fmla="*/ 9920 h 9920"/>
                <a:gd name="connsiteX2" fmla="*/ 10000 w 10000"/>
                <a:gd name="connsiteY2" fmla="*/ 0 h 9920"/>
                <a:gd name="connsiteX3" fmla="*/ 9 w 10000"/>
                <a:gd name="connsiteY3" fmla="*/ 36 h 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9920">
                  <a:moveTo>
                    <a:pt x="9" y="36"/>
                  </a:moveTo>
                  <a:cubicBezTo>
                    <a:pt x="30" y="3331"/>
                    <a:pt x="-15" y="6625"/>
                    <a:pt x="6" y="9920"/>
                  </a:cubicBezTo>
                  <a:lnTo>
                    <a:pt x="10000" y="0"/>
                  </a:lnTo>
                  <a:lnTo>
                    <a:pt x="9" y="36"/>
                  </a:lnTo>
                  <a:close/>
                </a:path>
              </a:pathLst>
            </a:custGeom>
            <a:solidFill>
              <a:srgbClr val="B128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 dirty="0"/>
            </a:p>
          </p:txBody>
        </p:sp>
      </p:grpSp>
      <p:sp>
        <p:nvSpPr>
          <p:cNvPr id="9" name="Banderole Bottom"/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0" y="6600825"/>
            <a:ext cx="12192000" cy="2667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600" b="0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52" name="Slide Number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551139" y="6718300"/>
            <a:ext cx="141064" cy="170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1125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1108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l" defTabSz="112544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08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56" name="Slide Number Line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11408508" y="6734176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en-US" sz="1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Contents Text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902807" y="1996522"/>
            <a:ext cx="10511563" cy="4240263"/>
          </a:xfrm>
        </p:spPr>
        <p:txBody>
          <a:bodyPr>
            <a:spAutoFit/>
          </a:bodyPr>
          <a:lstStyle>
            <a:lvl1pPr marL="443088" indent="-443088">
              <a:spcBef>
                <a:spcPts val="2462"/>
              </a:spcBef>
              <a:tabLst>
                <a:tab pos="10488508" algn="r"/>
              </a:tabLst>
              <a:defRPr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 marL="886176" indent="-443088">
              <a:spcBef>
                <a:spcPts val="738"/>
              </a:spcBef>
              <a:buNone/>
              <a:tabLst>
                <a:tab pos="10488508" algn="r"/>
              </a:tabLst>
              <a:defRPr b="0">
                <a:solidFill>
                  <a:schemeClr val="tx1"/>
                </a:solidFill>
              </a:defRPr>
            </a:lvl2pPr>
            <a:lvl3pPr marL="1550808" indent="-664632">
              <a:spcBef>
                <a:spcPts val="0"/>
              </a:spcBef>
              <a:buNone/>
              <a:tabLst>
                <a:tab pos="10488508" algn="r"/>
              </a:tabLst>
              <a:defRPr>
                <a:solidFill>
                  <a:schemeClr val="tx1"/>
                </a:solidFill>
              </a:defRPr>
            </a:lvl3pPr>
            <a:lvl4pPr marL="1545532" indent="-658463">
              <a:buNone/>
              <a:tabLst>
                <a:tab pos="10488508" algn="r"/>
              </a:tabLst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A.	xxx	xx</a:t>
            </a:r>
          </a:p>
          <a:p>
            <a:pPr lvl="0"/>
            <a:r>
              <a:rPr lang="en-US" dirty="0" smtClean="0"/>
              <a:t>B.	xxx	xx</a:t>
            </a:r>
          </a:p>
          <a:p>
            <a:pPr lvl="1"/>
            <a:r>
              <a:rPr lang="en-US" dirty="0" smtClean="0"/>
              <a:t>1.	xxx	xx</a:t>
            </a:r>
          </a:p>
          <a:p>
            <a:pPr lvl="1"/>
            <a:r>
              <a:rPr lang="en-US" dirty="0" smtClean="0"/>
              <a:t>2.	xxx	xx</a:t>
            </a:r>
          </a:p>
          <a:p>
            <a:pPr lvl="2"/>
            <a:r>
              <a:rPr lang="en-US" dirty="0" smtClean="0"/>
              <a:t>2.1	xxx	xx</a:t>
            </a:r>
          </a:p>
          <a:p>
            <a:pPr lvl="2"/>
            <a:r>
              <a:rPr lang="en-US" dirty="0" smtClean="0"/>
              <a:t>2.2	xxx	xx</a:t>
            </a:r>
          </a:p>
          <a:p>
            <a:pPr lvl="0"/>
            <a:r>
              <a:rPr lang="en-US" dirty="0" smtClean="0"/>
              <a:t>C.	xxx	xx</a:t>
            </a:r>
          </a:p>
          <a:p>
            <a:pPr lvl="1"/>
            <a:r>
              <a:rPr lang="en-US" dirty="0" smtClean="0"/>
              <a:t>1.	xxx	xx</a:t>
            </a:r>
          </a:p>
          <a:p>
            <a:pPr lvl="2"/>
            <a:r>
              <a:rPr lang="en-US" dirty="0" smtClean="0"/>
              <a:t>1.1	xxx	xx</a:t>
            </a:r>
          </a:p>
        </p:txBody>
      </p:sp>
      <p:sp>
        <p:nvSpPr>
          <p:cNvPr id="10" name="Contents Title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902807" y="857851"/>
            <a:ext cx="10515470" cy="4755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>
              <a:lnSpc>
                <a:spcPct val="93000"/>
              </a:lnSpc>
              <a:defRPr/>
            </a:lvl1pPr>
          </a:lstStyle>
          <a:p>
            <a:pPr marL="0" marR="0" lvl="0" indent="0" algn="l" defTabSz="1125444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492416" algn="r"/>
              </a:tabLst>
              <a:defRPr/>
            </a:pPr>
            <a:r>
              <a:rPr kumimoji="0" lang="ru-RU" altLang="de-DE" sz="3323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rPr>
              <a:t>Оглавление</a:t>
            </a:r>
            <a:r>
              <a:rPr kumimoji="0" lang="en-US" altLang="de-DE" sz="3323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rPr>
              <a:t>	</a:t>
            </a:r>
            <a:endParaRPr kumimoji="0" lang="en-US" altLang="de-DE" sz="3323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35" name="Slide Number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11416792" y="117967"/>
            <a:ext cx="530786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1125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l" defTabSz="112544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Position Lines"/>
          <p:cNvGrpSpPr/>
          <p:nvPr/>
        </p:nvGrpSpPr>
        <p:grpSpPr>
          <a:xfrm>
            <a:off x="907111" y="6886575"/>
            <a:ext cx="563904" cy="72000"/>
            <a:chOff x="737028" y="6886575"/>
            <a:chExt cx="458172" cy="72000"/>
          </a:xfrm>
        </p:grpSpPr>
        <p:sp>
          <p:nvSpPr>
            <p:cNvPr id="10" name="Line"/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auto">
            <a:xfrm>
              <a:off x="737028" y="6886575"/>
              <a:ext cx="0" cy="72000"/>
            </a:xfrm>
            <a:prstGeom prst="line">
              <a:avLst/>
            </a:prstGeom>
            <a:noFill/>
            <a:ln w="15875" cmpd="sng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 sz="1600" noProof="0" dirty="0"/>
            </a:p>
          </p:txBody>
        </p:sp>
        <p:sp>
          <p:nvSpPr>
            <p:cNvPr id="11" name="Line"/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>
              <a:off x="1195200" y="6886575"/>
              <a:ext cx="0" cy="72000"/>
            </a:xfrm>
            <a:prstGeom prst="line">
              <a:avLst/>
            </a:prstGeom>
            <a:noFill/>
            <a:ln w="3175" cmpd="sng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 sz="1600" noProof="0" dirty="0"/>
            </a:p>
          </p:txBody>
        </p:sp>
      </p:grpSp>
      <p:sp>
        <p:nvSpPr>
          <p:cNvPr id="13" name="Rectangle 12"/>
          <p:cNvSpPr/>
          <p:nvPr>
            <p:custDataLst>
              <p:tags r:id="rId1"/>
            </p:custDataLst>
          </p:nvPr>
        </p:nvSpPr>
        <p:spPr>
          <a:xfrm>
            <a:off x="0" y="1"/>
            <a:ext cx="12192000" cy="4445793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b="0" kern="1200" noProof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/>
          <p:nvPr>
            <p:custDataLst>
              <p:tags r:id="rId2"/>
            </p:custDataLst>
          </p:nvPr>
        </p:nvSpPr>
        <p:spPr>
          <a:xfrm>
            <a:off x="0" y="4448176"/>
            <a:ext cx="12192000" cy="2409825"/>
          </a:xfrm>
          <a:prstGeom prst="rect">
            <a:avLst/>
          </a:prstGeom>
          <a:solidFill>
            <a:schemeClr val="accent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600" b="0" noProof="0" dirty="0" smtClean="0">
              <a:solidFill>
                <a:schemeClr val="tx1"/>
              </a:solidFill>
              <a:cs typeface="Arial Narrow" pitchFamily="34" charset="0"/>
            </a:endParaRPr>
          </a:p>
        </p:txBody>
      </p:sp>
      <p:sp>
        <p:nvSpPr>
          <p:cNvPr id="15" name="Line 6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-2931" y="4448175"/>
            <a:ext cx="1219493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endParaRPr lang="en-US" sz="1600" noProof="0" dirty="0"/>
          </a:p>
        </p:txBody>
      </p:sp>
      <p:sp>
        <p:nvSpPr>
          <p:cNvPr id="53" name="Line 4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907111" y="0"/>
            <a:ext cx="0" cy="6861562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sz="1600" noProof="0" dirty="0"/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1514001" y="3785857"/>
            <a:ext cx="9937493" cy="657337"/>
          </a:xfrm>
        </p:spPr>
        <p:txBody>
          <a:bodyPr vert="horz" wrap="square" lIns="0" tIns="0" rIns="0" bIns="180000" rtlCol="0" anchor="b" anchorCtr="0">
            <a:spAutoFit/>
          </a:bodyPr>
          <a:lstStyle>
            <a:lvl1pPr marL="668232" indent="-668232" algn="l" defTabSz="443088" rtl="0" eaLnBrk="1" latinLnBrk="0" hangingPunct="1">
              <a:lnSpc>
                <a:spcPct val="93000"/>
              </a:lnSpc>
              <a:spcBef>
                <a:spcPct val="0"/>
              </a:spcBef>
              <a:buNone/>
              <a:tabLst>
                <a:tab pos="990625" algn="l"/>
              </a:tabLst>
              <a:defRPr kumimoji="0" lang="en-US" sz="3323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668232" marR="0" lvl="0" indent="-668232" algn="l" defTabSz="443088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90625" algn="l"/>
              </a:tabLst>
              <a:defRPr/>
            </a:pPr>
            <a:r>
              <a:rPr lang="en-US" dirty="0" smtClean="0"/>
              <a:t>A.    Click to edit text</a:t>
            </a:r>
            <a:endParaRPr lang="en-US" dirty="0"/>
          </a:p>
        </p:txBody>
      </p:sp>
      <p:sp>
        <p:nvSpPr>
          <p:cNvPr id="22" name="Slide Number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11708432" y="164667"/>
            <a:ext cx="530786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1125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l" defTabSz="112544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st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1708432" y="164667"/>
            <a:ext cx="530786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1125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l" defTabSz="112544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nderole Bottom"/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0" y="6602401"/>
            <a:ext cx="12192000" cy="263283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de-DE" sz="1600" b="0" kern="1200" noProof="0" dirty="0" smtClean="0">
              <a:solidFill>
                <a:schemeClr val="tx1"/>
              </a:solidFill>
              <a:latin typeface="+mn-lt"/>
              <a:ea typeface="+mn-ea"/>
              <a:cs typeface="Arial Narrow" pitchFamily="34" charset="0"/>
            </a:endParaRPr>
          </a:p>
        </p:txBody>
      </p:sp>
      <p:sp>
        <p:nvSpPr>
          <p:cNvPr id="8" name="Slide Number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1708432" y="164667"/>
            <a:ext cx="530786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1125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l" defTabSz="112544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!!!Do not delete this text object!!!!_2"/>
          <p:cNvSpPr/>
          <p:nvPr/>
        </p:nvSpPr>
        <p:spPr>
          <a:xfrm>
            <a:off x="-54529" y="-83405"/>
            <a:ext cx="39877" cy="32400"/>
          </a:xfrm>
          <a:prstGeom prst="ellipse">
            <a:avLst/>
          </a:prstGeom>
          <a:solidFill>
            <a:srgbClr val="FF0000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615" tIns="0" rIns="88615" bIns="0" rtlCol="0" anchor="ctr"/>
          <a:lstStyle/>
          <a:p>
            <a:pPr algn="ctr">
              <a:lnSpc>
                <a:spcPct val="93000"/>
              </a:lnSpc>
              <a:spcBef>
                <a:spcPts val="369"/>
              </a:spcBef>
            </a:pPr>
            <a:r>
              <a:rPr lang="de-DE" sz="246" b="1" dirty="0" smtClean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2" name="!!!Do not delete this text object!!!!"/>
          <p:cNvSpPr txBox="1"/>
          <p:nvPr>
            <p:custDataLst>
              <p:tags r:id="rId10"/>
            </p:custDataLst>
          </p:nvPr>
        </p:nvSpPr>
        <p:spPr>
          <a:xfrm>
            <a:off x="0" y="-90288"/>
            <a:ext cx="1215076" cy="56810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buClr>
                <a:schemeClr val="tx1"/>
              </a:buClr>
              <a:buSzPct val="100000"/>
            </a:pPr>
            <a:r>
              <a:rPr lang="en-GB" sz="369" b="0" noProof="1" smtClean="0">
                <a:solidFill>
                  <a:schemeClr val="bg1"/>
                </a:solidFill>
                <a:latin typeface="+mn-lt"/>
                <a:cs typeface="Arial" pitchFamily="34" charset="0"/>
              </a:rPr>
              <a:t>"A4rb_Premium" – 2012-02_v02 – do not delete this text object!</a:t>
            </a:r>
            <a:r>
              <a:rPr lang="en-GB" sz="369" b="0" baseline="0" noProof="1" smtClean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  <a:r>
              <a:rPr lang="en-GB" sz="369" b="0" noProof="1" smtClean="0">
                <a:solidFill>
                  <a:schemeClr val="bg1"/>
                </a:solidFill>
                <a:latin typeface="+mn-lt"/>
                <a:cs typeface="Arial" pitchFamily="34" charset="0"/>
              </a:rPr>
              <a:t>Speech</a:t>
            </a: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902677" y="1996700"/>
            <a:ext cx="10505831" cy="176202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 smtClean="0"/>
              <a:t>Click to edit Master text styles – Level 0</a:t>
            </a:r>
          </a:p>
          <a:p>
            <a:pPr lvl="1"/>
            <a:r>
              <a:rPr lang="en-US" dirty="0" smtClean="0"/>
              <a:t>Level 1</a:t>
            </a:r>
          </a:p>
          <a:p>
            <a:pPr lvl="2"/>
            <a:r>
              <a:rPr lang="en-US" dirty="0" smtClean="0"/>
              <a:t>Level 2</a:t>
            </a:r>
          </a:p>
          <a:p>
            <a:pPr lvl="3"/>
            <a:r>
              <a:rPr lang="en-US" dirty="0" smtClean="0"/>
              <a:t>Level 3</a:t>
            </a:r>
            <a:endParaRPr lang="en-US" dirty="0"/>
          </a:p>
        </p:txBody>
      </p:sp>
      <p:sp>
        <p:nvSpPr>
          <p:cNvPr id="2" name="Title Placeholder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902677" y="857475"/>
            <a:ext cx="10505831" cy="7727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grpSp>
        <p:nvGrpSpPr>
          <p:cNvPr id="4" name="Drawing grid" hidden="1"/>
          <p:cNvGrpSpPr/>
          <p:nvPr>
            <p:custDataLst>
              <p:tags r:id="rId13"/>
            </p:custDataLst>
          </p:nvPr>
        </p:nvGrpSpPr>
        <p:grpSpPr>
          <a:xfrm>
            <a:off x="0" y="0"/>
            <a:ext cx="12192000" cy="6858000"/>
            <a:chOff x="0" y="0"/>
            <a:chExt cx="9906000" cy="6858000"/>
          </a:xfrm>
        </p:grpSpPr>
        <p:cxnSp>
          <p:nvCxnSpPr>
            <p:cNvPr id="27" name="!!!Do not delete!!!"/>
            <p:cNvCxnSpPr/>
            <p:nvPr/>
          </p:nvCxnSpPr>
          <p:spPr>
            <a:xfrm>
              <a:off x="738000" y="0"/>
              <a:ext cx="0" cy="68580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/>
            <p:cNvCxnSpPr/>
            <p:nvPr/>
          </p:nvCxnSpPr>
          <p:spPr>
            <a:xfrm>
              <a:off x="1347787" y="0"/>
              <a:ext cx="0" cy="7493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!!!Do not delete!!!"/>
            <p:cNvCxnSpPr/>
            <p:nvPr/>
          </p:nvCxnSpPr>
          <p:spPr>
            <a:xfrm>
              <a:off x="7740969" y="0"/>
              <a:ext cx="0" cy="7493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!!!Do not delete!!!"/>
            <p:cNvCxnSpPr/>
            <p:nvPr/>
          </p:nvCxnSpPr>
          <p:spPr>
            <a:xfrm>
              <a:off x="8128319" y="0"/>
              <a:ext cx="0" cy="7493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!!!Do not delete!!!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!!!Do not delete!!!"/>
            <p:cNvCxnSpPr/>
            <p:nvPr/>
          </p:nvCxnSpPr>
          <p:spPr>
            <a:xfrm>
              <a:off x="0" y="221454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!!!Do not delete!!!"/>
            <p:cNvCxnSpPr/>
            <p:nvPr/>
          </p:nvCxnSpPr>
          <p:spPr>
            <a:xfrm>
              <a:off x="0" y="496092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!!!Do not delete!!!"/>
            <p:cNvCxnSpPr/>
            <p:nvPr/>
          </p:nvCxnSpPr>
          <p:spPr>
            <a:xfrm>
              <a:off x="0" y="856800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!!!Do not delete!!!"/>
            <p:cNvCxnSpPr/>
            <p:nvPr/>
          </p:nvCxnSpPr>
          <p:spPr>
            <a:xfrm>
              <a:off x="0" y="741599"/>
              <a:ext cx="144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!!!Do not delete!!!"/>
            <p:cNvCxnSpPr/>
            <p:nvPr/>
          </p:nvCxnSpPr>
          <p:spPr>
            <a:xfrm>
              <a:off x="0" y="6416675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!!!Do not delete!!!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!!!Do not delete!!!"/>
            <p:cNvCxnSpPr/>
            <p:nvPr/>
          </p:nvCxnSpPr>
          <p:spPr>
            <a:xfrm>
              <a:off x="0" y="1995488"/>
              <a:ext cx="9271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!!!Do not delete!!!"/>
            <p:cNvCxnSpPr/>
            <p:nvPr/>
          </p:nvCxnSpPr>
          <p:spPr>
            <a:xfrm>
              <a:off x="0" y="3032125"/>
              <a:ext cx="7366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!!!Do not delete!!!"/>
            <p:cNvCxnSpPr/>
            <p:nvPr/>
          </p:nvCxnSpPr>
          <p:spPr>
            <a:xfrm>
              <a:off x="0" y="1763999"/>
              <a:ext cx="144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Formatted_text" hidden="1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908540" y="2621661"/>
            <a:ext cx="2436923" cy="127470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3000"/>
              </a:lnSpc>
              <a:buClr>
                <a:schemeClr val="tx1"/>
              </a:buClr>
              <a:buSzPct val="100000"/>
            </a:pPr>
            <a:r>
              <a:rPr lang="de-DE" sz="1846" b="1" dirty="0" smtClean="0">
                <a:latin typeface="+mn-lt"/>
                <a:cs typeface="Arial" pitchFamily="34" charset="0"/>
              </a:rPr>
              <a:t>15 Point Text: Level 0</a:t>
            </a:r>
            <a:endParaRPr lang="de-DE" sz="1846" b="0" dirty="0" smtClean="0">
              <a:latin typeface="+mn-lt"/>
              <a:cs typeface="Arial" pitchFamily="34" charset="0"/>
            </a:endParaRPr>
          </a:p>
          <a:p>
            <a:pPr marL="202554" lvl="1" indent="-202554">
              <a:lnSpc>
                <a:spcPct val="93000"/>
              </a:lnSpc>
              <a:spcBef>
                <a:spcPts val="985"/>
              </a:spcBef>
              <a:buClr>
                <a:schemeClr val="tx1"/>
              </a:buClr>
              <a:buSzPct val="100000"/>
              <a:buFont typeface="Arial Narrow"/>
              <a:buChar char="&gt;"/>
            </a:pPr>
            <a:r>
              <a:rPr lang="de-DE" sz="1846" b="0" dirty="0" smtClean="0">
                <a:latin typeface="+mn-lt"/>
                <a:cs typeface="Arial" pitchFamily="34" charset="0"/>
              </a:rPr>
              <a:t>Level 1</a:t>
            </a:r>
          </a:p>
          <a:p>
            <a:pPr marL="424098" lvl="2" indent="-205718">
              <a:lnSpc>
                <a:spcPct val="93000"/>
              </a:lnSpc>
              <a:spcBef>
                <a:spcPts val="492"/>
              </a:spcBef>
              <a:buClr>
                <a:schemeClr val="tx1"/>
              </a:buClr>
              <a:buSzPct val="100000"/>
              <a:buFont typeface="Arial Narrow"/>
              <a:buChar char="–"/>
            </a:pPr>
            <a:r>
              <a:rPr lang="de-DE" sz="1846" b="0" dirty="0" smtClean="0">
                <a:latin typeface="+mn-lt"/>
                <a:cs typeface="Arial" pitchFamily="34" charset="0"/>
              </a:rPr>
              <a:t>Level 2</a:t>
            </a:r>
          </a:p>
          <a:p>
            <a:pPr marL="613993" lvl="3" indent="-177235">
              <a:lnSpc>
                <a:spcPct val="93000"/>
              </a:lnSpc>
              <a:spcBef>
                <a:spcPts val="246"/>
              </a:spcBef>
              <a:buClr>
                <a:schemeClr val="tx1"/>
              </a:buClr>
              <a:buSzPct val="100000"/>
              <a:buFont typeface="Arial Narrow"/>
              <a:buChar char="-"/>
            </a:pPr>
            <a:r>
              <a:rPr lang="de-DE" sz="1846" b="0" dirty="0" smtClean="0">
                <a:latin typeface="+mn-lt"/>
                <a:cs typeface="Arial" pitchFamily="34" charset="0"/>
              </a:rPr>
              <a:t>Level 3</a:t>
            </a:r>
          </a:p>
        </p:txBody>
      </p:sp>
      <p:sp>
        <p:nvSpPr>
          <p:cNvPr id="46" name="Source" hidden="1"/>
          <p:cNvSpPr txBox="1"/>
          <p:nvPr>
            <p:custDataLst>
              <p:tags r:id="rId15"/>
            </p:custDataLst>
          </p:nvPr>
        </p:nvSpPr>
        <p:spPr>
          <a:xfrm>
            <a:off x="908541" y="6680369"/>
            <a:ext cx="634789" cy="158570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 marL="457211" indent="-457211">
              <a:lnSpc>
                <a:spcPct val="93000"/>
              </a:lnSpc>
              <a:buClr>
                <a:schemeClr val="tx1"/>
              </a:buClr>
              <a:buSzPct val="100000"/>
            </a:pPr>
            <a:r>
              <a:rPr lang="de-DE" sz="1108" b="0" dirty="0" smtClean="0">
                <a:latin typeface="+mn-lt"/>
                <a:cs typeface="Arial" pitchFamily="34" charset="0"/>
              </a:rPr>
              <a:t>Source:	</a:t>
            </a:r>
            <a:r>
              <a:rPr lang="de-DE" sz="1108" b="0" dirty="0" err="1" smtClean="0">
                <a:latin typeface="+mn-lt"/>
                <a:cs typeface="Arial" pitchFamily="34" charset="0"/>
              </a:rPr>
              <a:t>xxx</a:t>
            </a:r>
            <a:endParaRPr lang="de-DE" sz="1108" b="0" dirty="0" smtClean="0">
              <a:latin typeface="+mn-lt"/>
              <a:cs typeface="Arial" pitchFamily="34" charset="0"/>
            </a:endParaRPr>
          </a:p>
        </p:txBody>
      </p:sp>
      <p:sp>
        <p:nvSpPr>
          <p:cNvPr id="47" name="Notes" hidden="1"/>
          <p:cNvSpPr txBox="1"/>
          <p:nvPr>
            <p:custDataLst>
              <p:tags r:id="rId16"/>
            </p:custDataLst>
          </p:nvPr>
        </p:nvSpPr>
        <p:spPr>
          <a:xfrm>
            <a:off x="908541" y="6384452"/>
            <a:ext cx="393698" cy="176138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 marL="199297" indent="-199297">
              <a:lnSpc>
                <a:spcPct val="93000"/>
              </a:lnSpc>
              <a:buClr>
                <a:schemeClr val="tx1"/>
              </a:buClr>
              <a:buSzPct val="100000"/>
            </a:pPr>
            <a:r>
              <a:rPr lang="de-DE" sz="1231" b="0" dirty="0" smtClean="0">
                <a:latin typeface="+mn-lt"/>
                <a:cs typeface="Arial" pitchFamily="34" charset="0"/>
              </a:rPr>
              <a:t>1)	</a:t>
            </a:r>
            <a:r>
              <a:rPr lang="de-DE" sz="1231" b="0" dirty="0" err="1" smtClean="0">
                <a:latin typeface="+mn-lt"/>
                <a:cs typeface="Arial" pitchFamily="34" charset="0"/>
              </a:rPr>
              <a:t>xxx</a:t>
            </a:r>
            <a:endParaRPr lang="de-DE" sz="1231" b="0" dirty="0" smtClean="0">
              <a:latin typeface="+mn-lt"/>
              <a:cs typeface="Arial" pitchFamily="34" charset="0"/>
            </a:endParaRPr>
          </a:p>
        </p:txBody>
      </p:sp>
      <p:grpSp>
        <p:nvGrpSpPr>
          <p:cNvPr id="5" name="Legend" hidden="1"/>
          <p:cNvGrpSpPr/>
          <p:nvPr>
            <p:custDataLst>
              <p:tags r:id="rId17"/>
            </p:custDataLst>
          </p:nvPr>
        </p:nvGrpSpPr>
        <p:grpSpPr>
          <a:xfrm>
            <a:off x="908541" y="6195220"/>
            <a:ext cx="800135" cy="179153"/>
            <a:chOff x="736600" y="6157119"/>
            <a:chExt cx="650109" cy="179153"/>
          </a:xfrm>
        </p:grpSpPr>
        <p:sp>
          <p:nvSpPr>
            <p:cNvPr id="49" name="LegendIcon"/>
            <p:cNvSpPr/>
            <p:nvPr/>
          </p:nvSpPr>
          <p:spPr>
            <a:xfrm>
              <a:off x="736600" y="6157119"/>
              <a:ext cx="215900" cy="146050"/>
            </a:xfrm>
            <a:prstGeom prst="rect">
              <a:avLst/>
            </a:prstGeom>
            <a:noFill/>
            <a:ln w="9525" cap="flat" cmpd="sng" algn="ctr">
              <a:solidFill>
                <a:srgbClr val="003F56"/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1125444" eaLnBrk="1" fontAlgn="auto" latinLnBrk="0" hangingPunct="1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50" name="LegendText"/>
            <p:cNvSpPr txBox="1"/>
            <p:nvPr/>
          </p:nvSpPr>
          <p:spPr>
            <a:xfrm>
              <a:off x="1035050" y="6160134"/>
              <a:ext cx="351659" cy="176138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none" lIns="0" tIns="0" rIns="0" bIns="0" rtlCol="0" anchor="t" anchorCtr="0">
              <a:spAutoFit/>
            </a:bodyPr>
            <a:lstStyle/>
            <a:p>
              <a:pPr marL="0" marR="0" lvl="0" indent="0" defTabSz="1125444" eaLnBrk="1" fontAlgn="auto" latinLnBrk="0" hangingPunct="1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de-DE" sz="1231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n-lt"/>
                  <a:cs typeface="Arial" pitchFamily="34" charset="0"/>
                </a:rPr>
                <a:t>Legend</a:t>
              </a:r>
            </a:p>
          </p:txBody>
        </p:sp>
      </p:grpSp>
      <p:sp>
        <p:nvSpPr>
          <p:cNvPr id="51" name="Subtitle" hidden="1"/>
          <p:cNvSpPr txBox="1">
            <a:spLocks/>
          </p:cNvSpPr>
          <p:nvPr>
            <p:custDataLst>
              <p:tags r:id="rId18"/>
            </p:custDataLst>
          </p:nvPr>
        </p:nvSpPr>
        <p:spPr>
          <a:xfrm>
            <a:off x="908541" y="2005020"/>
            <a:ext cx="10502421" cy="369973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3000"/>
              </a:lnSpc>
              <a:buClr>
                <a:schemeClr val="tx1"/>
              </a:buClr>
              <a:buSzPct val="100000"/>
            </a:pPr>
            <a:r>
              <a:rPr lang="de-DE" sz="2585" b="0" dirty="0" err="1" smtClean="0">
                <a:latin typeface="+mn-lt"/>
                <a:cs typeface="Arial" pitchFamily="34" charset="0"/>
              </a:rPr>
              <a:t>Subtitle</a:t>
            </a:r>
            <a:endParaRPr lang="de-DE" sz="2585" b="0" dirty="0" smtClean="0">
              <a:latin typeface="+mn-lt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20" r:id="rId1"/>
    <p:sldLayoutId id="2147484321" r:id="rId2"/>
    <p:sldLayoutId id="2147484322" r:id="rId3"/>
    <p:sldLayoutId id="2147484323" r:id="rId4"/>
    <p:sldLayoutId id="2147484324" r:id="rId5"/>
    <p:sldLayoutId id="2147484325" r:id="rId6"/>
    <p:sldLayoutId id="2147484326" r:id="rId7"/>
    <p:sldLayoutId id="2147484327" r:id="rId8"/>
  </p:sldLayoutIdLst>
  <p:hf hdr="0" dt="0"/>
  <p:txStyles>
    <p:titleStyle>
      <a:lvl1pPr algn="l" defTabSz="1125444" rtl="0" eaLnBrk="1" latinLnBrk="0" hangingPunct="1">
        <a:lnSpc>
          <a:spcPct val="93000"/>
        </a:lnSpc>
        <a:spcBef>
          <a:spcPct val="0"/>
        </a:spcBef>
        <a:buNone/>
        <a:defRPr lang="en-US" sz="3323" b="0" kern="1200" dirty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1125444" rtl="0" eaLnBrk="1" latinLnBrk="0" hangingPunct="1">
        <a:lnSpc>
          <a:spcPct val="93000"/>
        </a:lnSpc>
        <a:spcBef>
          <a:spcPts val="0"/>
        </a:spcBef>
        <a:buFont typeface="Arial" pitchFamily="34" charset="0"/>
        <a:buNone/>
        <a:defRPr lang="en-US" sz="2585" b="1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283576" indent="-283576" algn="l" defTabSz="1125444" rtl="0" eaLnBrk="1" latinLnBrk="0" hangingPunct="1">
        <a:lnSpc>
          <a:spcPct val="93000"/>
        </a:lnSpc>
        <a:spcBef>
          <a:spcPts val="1477"/>
        </a:spcBef>
        <a:buFont typeface="Arial Narrow" pitchFamily="34" charset="0"/>
        <a:buChar char="&gt;"/>
        <a:defRPr lang="en-US" sz="2585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93738" indent="-288007" algn="l" defTabSz="1125444" rtl="0" eaLnBrk="1" latinLnBrk="0" hangingPunct="1">
        <a:lnSpc>
          <a:spcPct val="93000"/>
        </a:lnSpc>
        <a:spcBef>
          <a:spcPts val="492"/>
        </a:spcBef>
        <a:buFont typeface="Arial Narrow" pitchFamily="34" charset="0"/>
        <a:buChar char="–"/>
        <a:defRPr lang="en-US" sz="2585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59591" indent="-248129" algn="l" defTabSz="1125444" rtl="0" eaLnBrk="1" latinLnBrk="0" hangingPunct="1">
        <a:lnSpc>
          <a:spcPct val="93000"/>
        </a:lnSpc>
        <a:spcBef>
          <a:spcPts val="246"/>
        </a:spcBef>
        <a:buFont typeface="Arial Narrow" pitchFamily="34" charset="0"/>
        <a:buChar char="-"/>
        <a:defRPr lang="en-US" sz="2585" b="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59591" indent="0" algn="l" defTabSz="1125444" rtl="0" eaLnBrk="1" latinLnBrk="0" hangingPunct="1">
        <a:lnSpc>
          <a:spcPct val="93000"/>
        </a:lnSpc>
        <a:spcBef>
          <a:spcPts val="0"/>
        </a:spcBef>
        <a:buFont typeface="Arial" pitchFamily="34" charset="0"/>
        <a:buNone/>
        <a:defRPr sz="2092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3094970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40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-923717" y="0"/>
            <a:ext cx="13115718" cy="4311161"/>
            <a:chOff x="-923717" y="0"/>
            <a:chExt cx="13115718" cy="4311161"/>
          </a:xfrm>
        </p:grpSpPr>
        <p:sp>
          <p:nvSpPr>
            <p:cNvPr id="13" name="AutoShape 3"/>
            <p:cNvSpPr>
              <a:spLocks noChangeAspect="1" noChangeArrowheads="1" noTextEdit="1"/>
            </p:cNvSpPr>
            <p:nvPr/>
          </p:nvSpPr>
          <p:spPr bwMode="auto">
            <a:xfrm flipH="1">
              <a:off x="-923717" y="0"/>
              <a:ext cx="13111222" cy="43111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/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 flipH="1">
              <a:off x="470137" y="0"/>
              <a:ext cx="11721864" cy="4089071"/>
            </a:xfrm>
            <a:custGeom>
              <a:avLst/>
              <a:gdLst>
                <a:gd name="T0" fmla="*/ 0 w 5214"/>
                <a:gd name="T1" fmla="*/ 0 h 2191"/>
                <a:gd name="T2" fmla="*/ 0 w 5214"/>
                <a:gd name="T3" fmla="*/ 2191 h 2191"/>
                <a:gd name="T4" fmla="*/ 5214 w 5214"/>
                <a:gd name="T5" fmla="*/ 0 h 2191"/>
                <a:gd name="T6" fmla="*/ 0 w 5214"/>
                <a:gd name="T7" fmla="*/ 0 h 2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14" h="2191">
                  <a:moveTo>
                    <a:pt x="0" y="0"/>
                  </a:moveTo>
                  <a:lnTo>
                    <a:pt x="0" y="2191"/>
                  </a:lnTo>
                  <a:lnTo>
                    <a:pt x="521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128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/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 flipH="1">
              <a:off x="4988922" y="0"/>
              <a:ext cx="6820893" cy="1950287"/>
            </a:xfrm>
            <a:custGeom>
              <a:avLst/>
              <a:gdLst>
                <a:gd name="T0" fmla="*/ 953 w 3034"/>
                <a:gd name="T1" fmla="*/ 0 h 1045"/>
                <a:gd name="T2" fmla="*/ 0 w 3034"/>
                <a:gd name="T3" fmla="*/ 1045 h 1045"/>
                <a:gd name="T4" fmla="*/ 3034 w 3034"/>
                <a:gd name="T5" fmla="*/ 0 h 1045"/>
                <a:gd name="T6" fmla="*/ 953 w 3034"/>
                <a:gd name="T7" fmla="*/ 0 h 10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34" h="1045">
                  <a:moveTo>
                    <a:pt x="953" y="0"/>
                  </a:moveTo>
                  <a:lnTo>
                    <a:pt x="0" y="1045"/>
                  </a:lnTo>
                  <a:lnTo>
                    <a:pt x="3034" y="0"/>
                  </a:lnTo>
                  <a:lnTo>
                    <a:pt x="953" y="0"/>
                  </a:lnTo>
                  <a:close/>
                </a:path>
              </a:pathLst>
            </a:custGeom>
            <a:solidFill>
              <a:srgbClr val="B511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/>
            </a:p>
          </p:txBody>
        </p:sp>
        <p:sp>
          <p:nvSpPr>
            <p:cNvPr id="26" name="Freeform 8"/>
            <p:cNvSpPr>
              <a:spLocks/>
            </p:cNvSpPr>
            <p:nvPr/>
          </p:nvSpPr>
          <p:spPr bwMode="auto">
            <a:xfrm flipH="1">
              <a:off x="2286644" y="0"/>
              <a:ext cx="9905357" cy="2680012"/>
            </a:xfrm>
            <a:custGeom>
              <a:avLst/>
              <a:gdLst>
                <a:gd name="T0" fmla="*/ 0 w 4406"/>
                <a:gd name="T1" fmla="*/ 0 h 1436"/>
                <a:gd name="T2" fmla="*/ 0 w 4406"/>
                <a:gd name="T3" fmla="*/ 1436 h 1436"/>
                <a:gd name="T4" fmla="*/ 4110 w 4406"/>
                <a:gd name="T5" fmla="*/ 405 h 1436"/>
                <a:gd name="T6" fmla="*/ 4406 w 4406"/>
                <a:gd name="T7" fmla="*/ 0 h 1436"/>
                <a:gd name="T8" fmla="*/ 0 w 4406"/>
                <a:gd name="T9" fmla="*/ 0 h 1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06" h="1436">
                  <a:moveTo>
                    <a:pt x="0" y="0"/>
                  </a:moveTo>
                  <a:lnTo>
                    <a:pt x="0" y="1436"/>
                  </a:lnTo>
                  <a:lnTo>
                    <a:pt x="4110" y="405"/>
                  </a:lnTo>
                  <a:lnTo>
                    <a:pt x="440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C41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/>
            </a:p>
          </p:txBody>
        </p:sp>
        <p:sp>
          <p:nvSpPr>
            <p:cNvPr id="27" name="Freeform 9"/>
            <p:cNvSpPr>
              <a:spLocks/>
            </p:cNvSpPr>
            <p:nvPr/>
          </p:nvSpPr>
          <p:spPr bwMode="auto">
            <a:xfrm flipH="1">
              <a:off x="3084738" y="0"/>
              <a:ext cx="9107263" cy="2543772"/>
            </a:xfrm>
            <a:custGeom>
              <a:avLst/>
              <a:gdLst>
                <a:gd name="T0" fmla="*/ 0 w 4051"/>
                <a:gd name="T1" fmla="*/ 0 h 1363"/>
                <a:gd name="T2" fmla="*/ 0 w 4051"/>
                <a:gd name="T3" fmla="*/ 1363 h 1363"/>
                <a:gd name="T4" fmla="*/ 4051 w 4051"/>
                <a:gd name="T5" fmla="*/ 0 h 1363"/>
                <a:gd name="T6" fmla="*/ 0 w 4051"/>
                <a:gd name="T7" fmla="*/ 0 h 1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51" h="1363">
                  <a:moveTo>
                    <a:pt x="0" y="0"/>
                  </a:moveTo>
                  <a:lnTo>
                    <a:pt x="0" y="1363"/>
                  </a:lnTo>
                  <a:lnTo>
                    <a:pt x="405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/>
            </a:p>
          </p:txBody>
        </p:sp>
      </p:grpSp>
      <p:sp>
        <p:nvSpPr>
          <p:cNvPr id="4" name="Title 3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444431" y="3927164"/>
            <a:ext cx="9441968" cy="933589"/>
          </a:xfrm>
        </p:spPr>
        <p:txBody>
          <a:bodyPr/>
          <a:lstStyle/>
          <a:p>
            <a:r>
              <a:rPr lang="ru-RU" dirty="0"/>
              <a:t>ОТЧЁТ</a:t>
            </a:r>
          </a:p>
        </p:txBody>
      </p:sp>
      <p:sp>
        <p:nvSpPr>
          <p:cNvPr id="14" name="Заголовок 1"/>
          <p:cNvSpPr txBox="1">
            <a:spLocks/>
          </p:cNvSpPr>
          <p:nvPr/>
        </p:nvSpPr>
        <p:spPr>
          <a:xfrm>
            <a:off x="2815047" y="753915"/>
            <a:ext cx="6135524" cy="1068796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ts val="0"/>
              </a:spcBef>
              <a:buNone/>
              <a:defRPr kumimoji="0" lang="en-US" sz="53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ru-RU" sz="6646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Подзаголовок 2"/>
          <p:cNvSpPr txBox="1">
            <a:spLocks/>
          </p:cNvSpPr>
          <p:nvPr/>
        </p:nvSpPr>
        <p:spPr>
          <a:xfrm>
            <a:off x="2038309" y="1908854"/>
            <a:ext cx="8088332" cy="904686"/>
          </a:xfrm>
          <a:prstGeom prst="rect">
            <a:avLst/>
          </a:prstGeom>
        </p:spPr>
        <p:txBody>
          <a:bodyPr vert="horz" lIns="112542" tIns="56271" rIns="112542" bIns="56271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2462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/>
          </p:nvPr>
        </p:nvSpPr>
        <p:spPr>
          <a:xfrm>
            <a:off x="867508" y="3344525"/>
            <a:ext cx="9441968" cy="1781614"/>
          </a:xfrm>
        </p:spPr>
        <p:txBody>
          <a:bodyPr/>
          <a:lstStyle/>
          <a:p>
            <a:r>
              <a:rPr lang="ru-RU" dirty="0" smtClean="0">
                <a:solidFill>
                  <a:schemeClr val="tx2"/>
                </a:solidFill>
              </a:rPr>
              <a:t>«</a:t>
            </a:r>
            <a:r>
              <a:rPr lang="ru-RU" sz="2800" dirty="0" smtClean="0">
                <a:solidFill>
                  <a:schemeClr val="tx1"/>
                </a:solidFill>
              </a:rPr>
              <a:t>Значение внутреннего финансового контроля и внутреннего </a:t>
            </a:r>
            <a:r>
              <a:rPr lang="ru-RU" sz="2800" dirty="0" smtClean="0">
                <a:solidFill>
                  <a:schemeClr val="tx1"/>
                </a:solidFill>
              </a:rPr>
              <a:t>аудита для предотвращения  сотрудниками организаций сектора государственного управления нарушений в сфере закупок</a:t>
            </a:r>
            <a:r>
              <a:rPr lang="ru-RU" dirty="0" smtClean="0">
                <a:solidFill>
                  <a:schemeClr val="tx2"/>
                </a:solidFill>
              </a:rPr>
              <a:t>»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/>
          </p:nvPr>
        </p:nvSpPr>
        <p:spPr>
          <a:xfrm>
            <a:off x="867508" y="5877273"/>
            <a:ext cx="9441968" cy="687002"/>
          </a:xfrm>
        </p:spPr>
        <p:txBody>
          <a:bodyPr/>
          <a:lstStyle/>
          <a:p>
            <a:r>
              <a:rPr lang="ru-RU" dirty="0" smtClean="0">
                <a:solidFill>
                  <a:srgbClr val="C00000"/>
                </a:solidFill>
              </a:rPr>
              <a:t>СПИКЕР:   </a:t>
            </a:r>
            <a:r>
              <a:rPr lang="ru-RU" sz="2400" dirty="0" smtClean="0">
                <a:solidFill>
                  <a:srgbClr val="C00000"/>
                </a:solidFill>
              </a:rPr>
              <a:t>Михеев В.В.</a:t>
            </a:r>
            <a:r>
              <a:rPr lang="ru-RU" dirty="0" smtClean="0">
                <a:solidFill>
                  <a:srgbClr val="C00000"/>
                </a:solidFill>
              </a:rPr>
              <a:t>, </a:t>
            </a:r>
            <a:r>
              <a:rPr lang="ru-RU" sz="1800" dirty="0" smtClean="0">
                <a:solidFill>
                  <a:srgbClr val="C00000"/>
                </a:solidFill>
              </a:rPr>
              <a:t>Центр исследования </a:t>
            </a:r>
            <a:r>
              <a:rPr lang="ru-RU" sz="1800" dirty="0" smtClean="0">
                <a:solidFill>
                  <a:srgbClr val="C00000"/>
                </a:solidFill>
              </a:rPr>
              <a:t>бюджетных отношений. Руководитель проекта.</a:t>
            </a:r>
            <a:r>
              <a:rPr lang="ru-RU" sz="1800" dirty="0" smtClean="0">
                <a:solidFill>
                  <a:srgbClr val="C00000"/>
                </a:solidFill>
              </a:rPr>
              <a:t>                                                       </a:t>
            </a:r>
            <a:r>
              <a:rPr lang="ru-RU" dirty="0" smtClean="0">
                <a:solidFill>
                  <a:srgbClr val="C00000"/>
                </a:solidFill>
              </a:rPr>
              <a:t>ДАТА</a:t>
            </a:r>
            <a:r>
              <a:rPr lang="ru-RU" dirty="0" smtClean="0">
                <a:solidFill>
                  <a:srgbClr val="C00000"/>
                </a:solidFill>
              </a:rPr>
              <a:t>: 21.04.2016</a:t>
            </a:r>
            <a:endParaRPr lang="ru-RU" dirty="0">
              <a:solidFill>
                <a:srgbClr val="C00000"/>
              </a:solidFill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5"/>
          </p:nvPr>
        </p:nvSpPr>
        <p:spPr>
          <a:xfrm>
            <a:off x="867508" y="2432830"/>
            <a:ext cx="9441968" cy="799487"/>
          </a:xfrm>
        </p:spPr>
        <p:txBody>
          <a:bodyPr/>
          <a:lstStyle/>
          <a:p>
            <a:r>
              <a:rPr lang="ru-RU" b="1" dirty="0" smtClean="0">
                <a:solidFill>
                  <a:schemeClr val="accent1"/>
                </a:solidFill>
              </a:rPr>
              <a:t>СЕКЦИЯ 1</a:t>
            </a:r>
            <a:endParaRPr lang="ru-RU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21950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02677" y="692696"/>
            <a:ext cx="10505831" cy="773999"/>
          </a:xfrm>
        </p:spPr>
        <p:txBody>
          <a:bodyPr/>
          <a:lstStyle/>
          <a:p>
            <a:r>
              <a:rPr lang="ru-RU" dirty="0" smtClean="0"/>
              <a:t>Оценка ВФК внутренним аудитом</a:t>
            </a:r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623392" y="1556792"/>
            <a:ext cx="11017224" cy="473975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ru-RU" sz="1400" b="0" dirty="0" smtClean="0"/>
              <a:t>В </a:t>
            </a:r>
            <a:r>
              <a:rPr lang="ru-RU" sz="1400" b="0" dirty="0" smtClean="0"/>
              <a:t>целях оценки надежности </a:t>
            </a:r>
            <a:r>
              <a:rPr lang="ru-RU" sz="1400" b="0" dirty="0" smtClean="0"/>
              <a:t>ВФК и </a:t>
            </a:r>
            <a:r>
              <a:rPr lang="ru-RU" sz="1400" b="0" dirty="0" smtClean="0"/>
              <a:t>подготовки рекомендаций по повышению его эффективности в ходе аудиторских проверок рассматриваются следующие вопросы</a:t>
            </a:r>
            <a:r>
              <a:rPr lang="ru-RU" sz="1400" b="0" dirty="0" smtClean="0"/>
              <a:t>:</a:t>
            </a:r>
          </a:p>
          <a:p>
            <a:endParaRPr lang="ru-RU" sz="1400" b="0" dirty="0" smtClean="0"/>
          </a:p>
          <a:p>
            <a:r>
              <a:rPr lang="ru-RU" sz="1400" b="0" dirty="0" smtClean="0"/>
              <a:t>соответствие организационной структуры объекта аудита структуре целей и задач деятельности объекта аудита;</a:t>
            </a:r>
          </a:p>
          <a:p>
            <a:r>
              <a:rPr lang="ru-RU" sz="1400" b="0" dirty="0" smtClean="0"/>
              <a:t>наличие и полнота правового регулирования вопросов организации и осуществления внутреннего финансового контроля на объекте аудита;</a:t>
            </a:r>
          </a:p>
          <a:p>
            <a:r>
              <a:rPr lang="ru-RU" sz="1400" b="0" dirty="0" smtClean="0"/>
              <a:t>организация планирования </a:t>
            </a:r>
            <a:r>
              <a:rPr lang="ru-RU" sz="1400" b="0" dirty="0" smtClean="0"/>
              <a:t>ВФК, </a:t>
            </a:r>
            <a:r>
              <a:rPr lang="ru-RU" sz="1400" b="0" dirty="0" smtClean="0"/>
              <a:t>применяемые критерии отбора объектов и предметов </a:t>
            </a:r>
            <a:r>
              <a:rPr lang="ru-RU" sz="1400" b="0" dirty="0" smtClean="0"/>
              <a:t>ВФК в </a:t>
            </a:r>
            <a:r>
              <a:rPr lang="ru-RU" sz="1400" b="0" dirty="0" smtClean="0"/>
              <a:t>карты </a:t>
            </a:r>
            <a:r>
              <a:rPr lang="ru-RU" sz="1400" b="0" dirty="0" smtClean="0"/>
              <a:t>ВФК;</a:t>
            </a:r>
            <a:endParaRPr lang="ru-RU" sz="1400" b="0" dirty="0" smtClean="0"/>
          </a:p>
          <a:p>
            <a:r>
              <a:rPr lang="ru-RU" sz="1400" b="0" dirty="0" smtClean="0"/>
              <a:t>организация координации деятельности должностных лиц и структурных подразделений объекта аудита, осуществляющих </a:t>
            </a:r>
            <a:r>
              <a:rPr lang="ru-RU" sz="1400" b="0" dirty="0" smtClean="0"/>
              <a:t>ВФК,  </a:t>
            </a:r>
            <a:r>
              <a:rPr lang="ru-RU" sz="1400" b="0" dirty="0" smtClean="0"/>
              <a:t>комплексность применения методов </a:t>
            </a:r>
            <a:r>
              <a:rPr lang="ru-RU" sz="1400" b="0" dirty="0" smtClean="0"/>
              <a:t>ВФК;</a:t>
            </a:r>
            <a:endParaRPr lang="ru-RU" sz="1400" b="0" dirty="0" smtClean="0"/>
          </a:p>
          <a:p>
            <a:r>
              <a:rPr lang="ru-RU" sz="1400" b="0" dirty="0" smtClean="0"/>
              <a:t>установление квалификационных требований к профессиональным знаниям и навыкам, необходимым для исполнения должностных обязанностей сотрудников, организующих и осуществляющих </a:t>
            </a:r>
            <a:r>
              <a:rPr lang="ru-RU" sz="1400" b="0" dirty="0" smtClean="0"/>
              <a:t>ВФК, </a:t>
            </a:r>
            <a:r>
              <a:rPr lang="ru-RU" sz="1400" b="0" dirty="0" smtClean="0"/>
              <a:t>соответствие их квалификации установленным требованиям;</a:t>
            </a:r>
          </a:p>
          <a:p>
            <a:r>
              <a:rPr lang="ru-RU" sz="1400" b="0" dirty="0" smtClean="0"/>
              <a:t>укомплектованность структурных подразделений, осуществляющих внутренние бюджетные процедуры, персоналом, четкость разграничения между персоналом полномочий по осуществлению внутренних бюджетных процедур и ответственности за их результаты;</a:t>
            </a:r>
          </a:p>
          <a:p>
            <a:r>
              <a:rPr lang="ru-RU" sz="1400" b="0" dirty="0" smtClean="0"/>
              <a:t>распределение полномочий и ответственности по организации и осуществлению </a:t>
            </a:r>
            <a:r>
              <a:rPr lang="ru-RU" sz="1400" b="0" dirty="0" smtClean="0"/>
              <a:t>ВФК закрепление </a:t>
            </a:r>
            <a:r>
              <a:rPr lang="ru-RU" sz="1400" b="0" dirty="0" smtClean="0"/>
              <a:t>их в положениях о структурных подразделениях объекта аудита, должностных регламентах и инструкциях;</a:t>
            </a:r>
          </a:p>
          <a:p>
            <a:r>
              <a:rPr lang="ru-RU" sz="1400" b="0" dirty="0" smtClean="0"/>
              <a:t>наличие у руководителей структурных подразделений и ключевых сотрудников, отвечающих за исполнение внутренних бюджетных процедур, достаточного опыта управленческой деятельности и деятельности по планированию и осуществлению </a:t>
            </a:r>
            <a:r>
              <a:rPr lang="ru-RU" sz="1400" b="0" dirty="0" smtClean="0"/>
              <a:t>ВФК;</a:t>
            </a:r>
            <a:endParaRPr lang="ru-RU" sz="1400" b="0" dirty="0" smtClean="0"/>
          </a:p>
          <a:p>
            <a:r>
              <a:rPr lang="ru-RU" sz="1400" b="0" dirty="0" smtClean="0"/>
              <a:t>соблюдение требований к доведению до сотрудников организации информации, необходимой для выполнения внутренних бюджетных процедур и мероприятий, направленных на повышение экономности и результативности использования бюджетных средств, знание сотрудниками такой </a:t>
            </a:r>
            <a:r>
              <a:rPr lang="ru-RU" sz="1400" b="0" dirty="0" smtClean="0"/>
              <a:t>информации….;</a:t>
            </a:r>
            <a:endParaRPr lang="ru-RU" sz="1400" b="0" dirty="0" smtClean="0"/>
          </a:p>
        </p:txBody>
      </p:sp>
      <p:sp>
        <p:nvSpPr>
          <p:cNvPr id="4" name="Прямоугольник 3"/>
          <p:cNvSpPr/>
          <p:nvPr/>
        </p:nvSpPr>
        <p:spPr>
          <a:xfrm>
            <a:off x="407368" y="1412776"/>
            <a:ext cx="11449272" cy="5040559"/>
          </a:xfrm>
          <a:prstGeom prst="rect">
            <a:avLst/>
          </a:prstGeom>
          <a:noFill/>
          <a:ln w="19050" cmpd="sng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615" tIns="0" rIns="88615" bIns="0" rtlCol="0" anchor="ctr"/>
          <a:lstStyle/>
          <a:p>
            <a:pPr algn="ctr">
              <a:lnSpc>
                <a:spcPct val="90000"/>
              </a:lnSpc>
              <a:spcBef>
                <a:spcPts val="369"/>
              </a:spcBef>
            </a:pPr>
            <a:endParaRPr lang="ru-RU" sz="1846" b="0" dirty="0">
              <a:solidFill>
                <a:schemeClr val="tx1"/>
              </a:solidFill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КОНТАКТЫ</a:t>
            </a:r>
            <a:endParaRPr lang="en-US" b="1" dirty="0"/>
          </a:p>
        </p:txBody>
      </p:sp>
      <p:sp>
        <p:nvSpPr>
          <p:cNvPr id="36" name="Text12"/>
          <p:cNvSpPr>
            <a:spLocks noChangeArrowheads="1"/>
          </p:cNvSpPr>
          <p:nvPr/>
        </p:nvSpPr>
        <p:spPr bwMode="auto">
          <a:xfrm>
            <a:off x="911424" y="3212976"/>
            <a:ext cx="5976664" cy="218521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953" lvl="1" defTabSz="406410"/>
            <a:r>
              <a:rPr lang="ru-RU" altLang="de-DE" sz="1800" b="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125047, Москва, ул. 1-я </a:t>
            </a:r>
            <a:r>
              <a:rPr lang="ru-RU" altLang="de-DE" sz="1800" b="0" dirty="0" err="1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Тверская-Ямская</a:t>
            </a:r>
            <a:r>
              <a:rPr lang="ru-RU" altLang="de-DE" sz="1800" b="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, до</a:t>
            </a:r>
            <a:r>
              <a:rPr lang="ru-RU" altLang="de-DE" sz="1800" b="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м</a:t>
            </a:r>
            <a:r>
              <a:rPr lang="ru-RU" altLang="de-DE" sz="1800" b="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 16/23, стр. 1, </a:t>
            </a:r>
            <a:r>
              <a:rPr lang="ru-RU" altLang="de-DE" sz="1800" b="0" dirty="0" err="1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эт</a:t>
            </a:r>
            <a:r>
              <a:rPr lang="ru-RU" altLang="de-DE" sz="1800" b="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. 5.</a:t>
            </a:r>
          </a:p>
          <a:p>
            <a:pPr marL="1953" lvl="1" defTabSz="406410"/>
            <a:endParaRPr lang="ru-RU" altLang="de-DE" sz="1800" b="0" dirty="0" smtClean="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  <a:p>
            <a:pPr marL="1953" lvl="1" defTabSz="406410"/>
            <a:r>
              <a:rPr lang="ru-RU" altLang="de-DE" sz="1800" b="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Тел.: 8(495) 600-41-72.</a:t>
            </a:r>
          </a:p>
          <a:p>
            <a:pPr marL="1953" lvl="1" defTabSz="406410"/>
            <a:endParaRPr lang="ru-RU" altLang="de-DE" sz="1800" b="0" dirty="0" smtClean="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  <a:p>
            <a:pPr marL="1953" lvl="1" defTabSz="406410"/>
            <a:r>
              <a:rPr lang="ru-RU" altLang="de-DE" sz="1800" b="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Факс: </a:t>
            </a:r>
            <a:r>
              <a:rPr lang="ru-RU" altLang="de-DE" sz="1800" b="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8(495) </a:t>
            </a:r>
            <a:r>
              <a:rPr lang="ru-RU" altLang="de-DE" sz="1800" b="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600-41-73.</a:t>
            </a:r>
          </a:p>
          <a:p>
            <a:pPr marL="1953" lvl="1" defTabSz="406410"/>
            <a:endParaRPr lang="ru-RU" altLang="de-DE" sz="1800" b="0" dirty="0" smtClean="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  <a:p>
            <a:pPr marL="1953" lvl="1" defTabSz="406410"/>
            <a:r>
              <a:rPr lang="en-US" altLang="de-DE" sz="1800" b="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www.rb-centre.ru</a:t>
            </a:r>
            <a:endParaRPr lang="ru-RU" altLang="de-DE" sz="1800" b="0" dirty="0" smtClean="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  <a:p>
            <a:pPr marL="1953" lvl="1" defTabSz="406410"/>
            <a:endParaRPr lang="ru-RU" altLang="de-DE" sz="1600" b="0" dirty="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</p:txBody>
      </p:sp>
      <p:sp>
        <p:nvSpPr>
          <p:cNvPr id="37" name="Line 5"/>
          <p:cNvSpPr>
            <a:spLocks noChangeShapeType="1"/>
          </p:cNvSpPr>
          <p:nvPr/>
        </p:nvSpPr>
        <p:spPr bwMode="auto">
          <a:xfrm>
            <a:off x="983432" y="2564904"/>
            <a:ext cx="4752528" cy="0"/>
          </a:xfrm>
          <a:prstGeom prst="line">
            <a:avLst/>
          </a:prstGeom>
          <a:noFill/>
          <a:ln w="22225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endParaRPr lang="ru-RU" sz="160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</p:txBody>
      </p:sp>
      <p:sp>
        <p:nvSpPr>
          <p:cNvPr id="38" name="Text12"/>
          <p:cNvSpPr>
            <a:spLocks noChangeArrowheads="1"/>
          </p:cNvSpPr>
          <p:nvPr/>
        </p:nvSpPr>
        <p:spPr bwMode="auto">
          <a:xfrm>
            <a:off x="899662" y="2125696"/>
            <a:ext cx="8580714" cy="55399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406410"/>
            <a:r>
              <a:rPr lang="ru-RU" altLang="de-DE" sz="3600" dirty="0" smtClean="0">
                <a:solidFill>
                  <a:schemeClr val="tx2"/>
                </a:solidFill>
                <a:latin typeface="+mn-lt"/>
              </a:rPr>
              <a:t>Центр исследования бюджетных отношений</a:t>
            </a:r>
            <a:endParaRPr lang="ru-RU" altLang="de-DE" sz="3600" dirty="0">
              <a:solidFill>
                <a:schemeClr val="tx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57939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 smtClean="0"/>
              <a:t>Внутренний финансовый контроль и внутренний аудит</a:t>
            </a:r>
            <a:endParaRPr lang="en-US" b="1" dirty="0"/>
          </a:p>
        </p:txBody>
      </p:sp>
      <p:sp>
        <p:nvSpPr>
          <p:cNvPr id="17" name="Text12"/>
          <p:cNvSpPr>
            <a:spLocks noChangeArrowheads="1"/>
          </p:cNvSpPr>
          <p:nvPr/>
        </p:nvSpPr>
        <p:spPr bwMode="auto">
          <a:xfrm>
            <a:off x="915618" y="3085296"/>
            <a:ext cx="4818401" cy="49244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953" lvl="1" defTabSz="406410"/>
            <a:r>
              <a:rPr lang="ru-RU" altLang="de-DE" sz="1600" b="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Осуществление главными </a:t>
            </a:r>
            <a:r>
              <a:rPr lang="ru-RU" altLang="de-DE" sz="1600" b="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администраторами средств бюджета </a:t>
            </a:r>
            <a:r>
              <a:rPr lang="ru-RU" altLang="de-DE" sz="1600" b="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ВФК и ВА – бюджетное полномочие</a:t>
            </a:r>
            <a:endParaRPr lang="ru-RU" altLang="de-DE" sz="1600" b="0" dirty="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</p:txBody>
      </p:sp>
      <p:sp>
        <p:nvSpPr>
          <p:cNvPr id="18" name="Line 5"/>
          <p:cNvSpPr>
            <a:spLocks noChangeShapeType="1"/>
          </p:cNvSpPr>
          <p:nvPr/>
        </p:nvSpPr>
        <p:spPr bwMode="auto">
          <a:xfrm>
            <a:off x="881515" y="2930942"/>
            <a:ext cx="4818401" cy="0"/>
          </a:xfrm>
          <a:prstGeom prst="line">
            <a:avLst/>
          </a:prstGeom>
          <a:noFill/>
          <a:ln w="22225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lIns="0" tIns="0" rIns="0" bIns="0">
            <a:spAutoFit/>
          </a:bodyPr>
          <a:lstStyle/>
          <a:p>
            <a:endParaRPr lang="ru-RU" sz="160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</p:txBody>
      </p:sp>
      <p:sp>
        <p:nvSpPr>
          <p:cNvPr id="19" name="Text12"/>
          <p:cNvSpPr>
            <a:spLocks noChangeArrowheads="1"/>
          </p:cNvSpPr>
          <p:nvPr/>
        </p:nvSpPr>
        <p:spPr bwMode="auto">
          <a:xfrm>
            <a:off x="899665" y="2496831"/>
            <a:ext cx="4815521" cy="32194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406410"/>
            <a:r>
              <a:rPr lang="ru-RU" altLang="de-DE" sz="2092" dirty="0" smtClean="0">
                <a:solidFill>
                  <a:schemeClr val="tx2"/>
                </a:solidFill>
                <a:latin typeface="+mn-lt"/>
              </a:rPr>
              <a:t>Обязательность </a:t>
            </a:r>
            <a:endParaRPr lang="ru-RU" altLang="de-DE" sz="2092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1" name="Text12"/>
          <p:cNvSpPr>
            <a:spLocks noChangeArrowheads="1"/>
          </p:cNvSpPr>
          <p:nvPr/>
        </p:nvSpPr>
        <p:spPr bwMode="auto">
          <a:xfrm>
            <a:off x="6240612" y="3085296"/>
            <a:ext cx="4818401" cy="73866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953" lvl="1" defTabSz="406410"/>
            <a:r>
              <a:rPr lang="ru-RU" altLang="de-DE" sz="1600" b="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ВФК обеспечивает за счет инструментария и методологии соблюдение законодательства.</a:t>
            </a:r>
          </a:p>
          <a:p>
            <a:pPr marL="1953" lvl="1" defTabSz="406410"/>
            <a:r>
              <a:rPr lang="ru-RU" altLang="de-DE" sz="1600" b="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ВА оценивает эффективность ВФК.</a:t>
            </a:r>
            <a:endParaRPr lang="ru-RU" altLang="de-DE" sz="1600" b="0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22" name="Line 13"/>
          <p:cNvSpPr>
            <a:spLocks noChangeShapeType="1"/>
          </p:cNvSpPr>
          <p:nvPr/>
        </p:nvSpPr>
        <p:spPr bwMode="auto">
          <a:xfrm>
            <a:off x="6240612" y="2930942"/>
            <a:ext cx="4818401" cy="0"/>
          </a:xfrm>
          <a:prstGeom prst="line">
            <a:avLst/>
          </a:prstGeom>
          <a:noFill/>
          <a:ln w="22225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lIns="0" tIns="0" rIns="0" bIns="0">
            <a:spAutoFit/>
          </a:bodyPr>
          <a:lstStyle/>
          <a:p>
            <a:endParaRPr lang="ru-RU" sz="160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</p:txBody>
      </p:sp>
      <p:sp>
        <p:nvSpPr>
          <p:cNvPr id="23" name="Text12"/>
          <p:cNvSpPr>
            <a:spLocks noChangeArrowheads="1"/>
          </p:cNvSpPr>
          <p:nvPr/>
        </p:nvSpPr>
        <p:spPr bwMode="auto">
          <a:xfrm>
            <a:off x="6224658" y="2496831"/>
            <a:ext cx="4193792" cy="64389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406410"/>
            <a:r>
              <a:rPr lang="ru-RU" altLang="de-DE" sz="2092" dirty="0" smtClean="0">
                <a:solidFill>
                  <a:schemeClr val="tx2"/>
                </a:solidFill>
                <a:latin typeface="+mn-lt"/>
              </a:rPr>
              <a:t>Взаимосвязь </a:t>
            </a:r>
            <a:endParaRPr lang="ru-RU" altLang="de-DE" sz="2092" dirty="0">
              <a:solidFill>
                <a:schemeClr val="tx2"/>
              </a:solidFill>
              <a:latin typeface="+mn-lt"/>
            </a:endParaRPr>
          </a:p>
          <a:p>
            <a:pPr defTabSz="406410"/>
            <a:endParaRPr lang="ru-RU" altLang="de-DE" sz="2092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6" name="Text12"/>
          <p:cNvSpPr>
            <a:spLocks noChangeArrowheads="1"/>
          </p:cNvSpPr>
          <p:nvPr/>
        </p:nvSpPr>
        <p:spPr bwMode="auto">
          <a:xfrm>
            <a:off x="767409" y="5029811"/>
            <a:ext cx="5184576" cy="49244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953" lvl="1" defTabSz="406410"/>
            <a:r>
              <a:rPr lang="ru-RU" altLang="de-DE" sz="1600" b="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Счетная палата РФ, КСО – анализ осуществления </a:t>
            </a:r>
            <a:r>
              <a:rPr lang="ru-RU" altLang="de-DE" sz="1600" b="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ВА.</a:t>
            </a:r>
            <a:endParaRPr lang="ru-RU" altLang="de-DE" sz="1600" b="0" dirty="0" smtClean="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  <a:p>
            <a:pPr marL="1953" lvl="1" defTabSz="406410"/>
            <a:r>
              <a:rPr lang="ru-RU" altLang="de-DE" sz="1600" b="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Органы внутреннего Г(М)ФК – анализ осуществления </a:t>
            </a:r>
            <a:r>
              <a:rPr lang="ru-RU" altLang="de-DE" sz="1600" b="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ВФК </a:t>
            </a:r>
            <a:r>
              <a:rPr lang="ru-RU" altLang="de-DE" sz="1600" b="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и </a:t>
            </a:r>
            <a:r>
              <a:rPr lang="ru-RU" altLang="de-DE" sz="1600" b="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ВА.</a:t>
            </a:r>
            <a:endParaRPr lang="ru-RU" altLang="de-DE" sz="1600" b="0" dirty="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</p:txBody>
      </p:sp>
      <p:sp>
        <p:nvSpPr>
          <p:cNvPr id="37" name="Line 5"/>
          <p:cNvSpPr>
            <a:spLocks noChangeShapeType="1"/>
          </p:cNvSpPr>
          <p:nvPr/>
        </p:nvSpPr>
        <p:spPr bwMode="auto">
          <a:xfrm>
            <a:off x="883067" y="4875457"/>
            <a:ext cx="4818401" cy="0"/>
          </a:xfrm>
          <a:prstGeom prst="line">
            <a:avLst/>
          </a:prstGeom>
          <a:noFill/>
          <a:ln w="22225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lIns="0" tIns="0" rIns="0" bIns="0">
            <a:spAutoFit/>
          </a:bodyPr>
          <a:lstStyle/>
          <a:p>
            <a:endParaRPr lang="ru-RU" sz="160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</p:txBody>
      </p:sp>
      <p:sp>
        <p:nvSpPr>
          <p:cNvPr id="38" name="Text12"/>
          <p:cNvSpPr>
            <a:spLocks noChangeArrowheads="1"/>
          </p:cNvSpPr>
          <p:nvPr/>
        </p:nvSpPr>
        <p:spPr bwMode="auto">
          <a:xfrm>
            <a:off x="867112" y="4441346"/>
            <a:ext cx="4815521" cy="64389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406410"/>
            <a:r>
              <a:rPr lang="ru-RU" altLang="de-DE" sz="2092" dirty="0" smtClean="0">
                <a:solidFill>
                  <a:schemeClr val="tx2"/>
                </a:solidFill>
                <a:latin typeface="+mn-lt"/>
              </a:rPr>
              <a:t>Внешний анализ</a:t>
            </a:r>
            <a:endParaRPr lang="ru-RU" altLang="de-DE" sz="2092" dirty="0">
              <a:solidFill>
                <a:schemeClr val="tx2"/>
              </a:solidFill>
              <a:latin typeface="+mn-lt"/>
            </a:endParaRPr>
          </a:p>
          <a:p>
            <a:pPr defTabSz="406410"/>
            <a:endParaRPr lang="ru-RU" altLang="de-DE" sz="2092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9" name="Text12"/>
          <p:cNvSpPr>
            <a:spLocks noChangeArrowheads="1"/>
          </p:cNvSpPr>
          <p:nvPr/>
        </p:nvSpPr>
        <p:spPr bwMode="auto">
          <a:xfrm>
            <a:off x="6208061" y="5029811"/>
            <a:ext cx="4818401" cy="73866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953" lvl="1" defTabSz="406410"/>
            <a:r>
              <a:rPr lang="ru-RU" altLang="de-DE" sz="1600" b="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ВФК осуществляется в отношении бюджетных процедур.</a:t>
            </a:r>
          </a:p>
          <a:p>
            <a:pPr marL="1953" lvl="1" defTabSz="406410"/>
            <a:r>
              <a:rPr lang="ru-RU" altLang="de-DE" sz="1600" b="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Закупки – одна из бюджетных процедур.</a:t>
            </a:r>
            <a:endParaRPr lang="ru-RU" altLang="de-DE" sz="1600" b="0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40" name="Line 13"/>
          <p:cNvSpPr>
            <a:spLocks noChangeShapeType="1"/>
          </p:cNvSpPr>
          <p:nvPr/>
        </p:nvSpPr>
        <p:spPr bwMode="auto">
          <a:xfrm>
            <a:off x="6208061" y="4875457"/>
            <a:ext cx="4818401" cy="0"/>
          </a:xfrm>
          <a:prstGeom prst="line">
            <a:avLst/>
          </a:prstGeom>
          <a:noFill/>
          <a:ln w="22225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lIns="0" tIns="0" rIns="0" bIns="0">
            <a:spAutoFit/>
          </a:bodyPr>
          <a:lstStyle/>
          <a:p>
            <a:endParaRPr lang="ru-RU" sz="160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</p:txBody>
      </p:sp>
      <p:sp>
        <p:nvSpPr>
          <p:cNvPr id="41" name="Text12"/>
          <p:cNvSpPr>
            <a:spLocks noChangeArrowheads="1"/>
          </p:cNvSpPr>
          <p:nvPr/>
        </p:nvSpPr>
        <p:spPr bwMode="auto">
          <a:xfrm>
            <a:off x="6192107" y="4441346"/>
            <a:ext cx="4193792" cy="32194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406410"/>
            <a:r>
              <a:rPr lang="ru-RU" altLang="de-DE" sz="2092" dirty="0" smtClean="0">
                <a:solidFill>
                  <a:schemeClr val="tx2"/>
                </a:solidFill>
                <a:latin typeface="+mn-lt"/>
              </a:rPr>
              <a:t>Закупки и ВФК? </a:t>
            </a:r>
            <a:endParaRPr lang="ru-RU" altLang="de-DE" sz="2092" dirty="0">
              <a:solidFill>
                <a:schemeClr val="tx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03308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23393" y="857475"/>
            <a:ext cx="11089232" cy="772776"/>
          </a:xfrm>
        </p:spPr>
        <p:txBody>
          <a:bodyPr/>
          <a:lstStyle/>
          <a:p>
            <a:r>
              <a:rPr lang="ru-RU" sz="3200" dirty="0" smtClean="0"/>
              <a:t>Проект Минфина России </a:t>
            </a:r>
            <a:r>
              <a:rPr lang="ru-RU" sz="3200" dirty="0" smtClean="0"/>
              <a:t>и </a:t>
            </a:r>
            <a:r>
              <a:rPr lang="ru-RU" sz="3200" dirty="0" smtClean="0"/>
              <a:t>МБРР «Содействие </a:t>
            </a:r>
            <a:r>
              <a:rPr lang="ru-RU" sz="3200" dirty="0" smtClean="0"/>
              <a:t>совершенствованию системы государственных финансов </a:t>
            </a:r>
            <a:r>
              <a:rPr lang="ru-RU" sz="3200" dirty="0" smtClean="0"/>
              <a:t>РФ»</a:t>
            </a:r>
            <a:endParaRPr lang="ru-RU" sz="3200" b="1" dirty="0"/>
          </a:p>
        </p:txBody>
      </p:sp>
      <p:graphicFrame>
        <p:nvGraphicFramePr>
          <p:cNvPr id="18" name="Схема 17"/>
          <p:cNvGraphicFramePr/>
          <p:nvPr>
            <p:extLst>
              <p:ext uri="{D42A27DB-BD31-4B8C-83A1-F6EECF244321}">
                <p14:modId xmlns:p14="http://schemas.microsoft.com/office/powerpoint/2010/main" xmlns="" val="98990"/>
              </p:ext>
            </p:extLst>
          </p:nvPr>
        </p:nvGraphicFramePr>
        <p:xfrm>
          <a:off x="623392" y="3475046"/>
          <a:ext cx="11144623" cy="26830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1" y="1914195"/>
            <a:ext cx="227347" cy="1079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12542" tIns="56271" rIns="112542" bIns="56271" numCol="1" anchor="ctr" anchorCtr="0" compatLnSpc="1">
            <a:prstTxWarp prst="textNoShape">
              <a:avLst/>
            </a:prstTxWarp>
            <a:spAutoFit/>
          </a:bodyPr>
          <a:lstStyle/>
          <a:p>
            <a:pPr defTabSz="1125444" eaLnBrk="0" hangingPunct="0"/>
            <a:endParaRPr lang="ru-RU" altLang="ru-RU" sz="1354" b="0">
              <a:ea typeface="Times New Roman" panose="02020603050405020304" pitchFamily="18" charset="0"/>
            </a:endParaRPr>
          </a:p>
          <a:p>
            <a:pPr defTabSz="1125444" eaLnBrk="0" hangingPunct="0"/>
            <a:r>
              <a:rPr lang="ru-RU" altLang="ru-RU" sz="1354" b="0">
                <a:latin typeface="Arial" panose="020B0604020202020204" pitchFamily="34" charset="0"/>
                <a:ea typeface="Times New Roman" panose="02020603050405020304" pitchFamily="18" charset="0"/>
              </a:rPr>
              <a:t/>
            </a:r>
            <a:br>
              <a:rPr lang="ru-RU" altLang="ru-RU" sz="1354" b="0">
                <a:latin typeface="Arial" panose="020B0604020202020204" pitchFamily="34" charset="0"/>
                <a:ea typeface="Times New Roman" panose="02020603050405020304" pitchFamily="18" charset="0"/>
              </a:rPr>
            </a:br>
            <a:r>
              <a:rPr lang="ru-RU" altLang="ru-RU" sz="1354" b="0">
                <a:latin typeface="Arial" panose="020B0604020202020204" pitchFamily="34" charset="0"/>
                <a:ea typeface="Times New Roman" panose="02020603050405020304" pitchFamily="18" charset="0"/>
              </a:rPr>
              <a:t/>
            </a:r>
            <a:br>
              <a:rPr lang="ru-RU" altLang="ru-RU" sz="1354" b="0">
                <a:latin typeface="Arial" panose="020B0604020202020204" pitchFamily="34" charset="0"/>
                <a:ea typeface="Times New Roman" panose="02020603050405020304" pitchFamily="18" charset="0"/>
              </a:rPr>
            </a:br>
            <a:endParaRPr lang="ru-RU" altLang="ru-RU" sz="2215" b="0">
              <a:latin typeface="Arial" panose="020B0604020202020204" pitchFamily="34" charset="0"/>
            </a:endParaRPr>
          </a:p>
        </p:txBody>
      </p:sp>
      <p:sp>
        <p:nvSpPr>
          <p:cNvPr id="24" name="Text12"/>
          <p:cNvSpPr>
            <a:spLocks noChangeArrowheads="1"/>
          </p:cNvSpPr>
          <p:nvPr/>
        </p:nvSpPr>
        <p:spPr bwMode="auto">
          <a:xfrm>
            <a:off x="6524214" y="3158426"/>
            <a:ext cx="5243801" cy="24622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endParaRPr lang="ru-RU" sz="1600" b="0" dirty="0">
              <a:latin typeface="+mn-lt"/>
            </a:endParaRPr>
          </a:p>
        </p:txBody>
      </p:sp>
      <p:sp>
        <p:nvSpPr>
          <p:cNvPr id="29" name="Line 5"/>
          <p:cNvSpPr>
            <a:spLocks noChangeShapeType="1"/>
          </p:cNvSpPr>
          <p:nvPr/>
        </p:nvSpPr>
        <p:spPr bwMode="auto">
          <a:xfrm>
            <a:off x="623392" y="3068960"/>
            <a:ext cx="11076449" cy="0"/>
          </a:xfrm>
          <a:prstGeom prst="line">
            <a:avLst/>
          </a:prstGeom>
          <a:noFill/>
          <a:ln w="22225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endParaRPr lang="ru-RU" sz="160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</p:txBody>
      </p:sp>
      <p:sp>
        <p:nvSpPr>
          <p:cNvPr id="30" name="Text12"/>
          <p:cNvSpPr>
            <a:spLocks noChangeArrowheads="1"/>
          </p:cNvSpPr>
          <p:nvPr/>
        </p:nvSpPr>
        <p:spPr bwMode="auto">
          <a:xfrm>
            <a:off x="623392" y="1916832"/>
            <a:ext cx="11072615" cy="110799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406410"/>
            <a:r>
              <a:rPr lang="ru-RU" sz="1800" dirty="0" err="1" smtClean="0"/>
              <a:t>Подпроект</a:t>
            </a:r>
            <a:r>
              <a:rPr lang="ru-RU" sz="1800" dirty="0" smtClean="0"/>
              <a:t> «</a:t>
            </a:r>
            <a:r>
              <a:rPr lang="ru-RU" sz="1800" dirty="0" smtClean="0"/>
              <a:t>Совершенствование и повышение эффективности системы финансового контроля и внутреннего аудита в секторе государственного управления, включая вопросы совершенствования системы мониторинга качества финансового менеджмента главных администраторов средств федерального бюджета»</a:t>
            </a:r>
            <a:endParaRPr lang="ru-RU" altLang="de-DE" sz="1800" dirty="0">
              <a:solidFill>
                <a:schemeClr val="tx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70653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911424" y="836712"/>
            <a:ext cx="10505831" cy="772776"/>
          </a:xfrm>
        </p:spPr>
        <p:txBody>
          <a:bodyPr/>
          <a:lstStyle/>
          <a:p>
            <a:r>
              <a:rPr lang="ru-RU" b="1" dirty="0" smtClean="0"/>
              <a:t>Логика ВФК по 193 постановлению</a:t>
            </a:r>
            <a:endParaRPr lang="ru-RU" b="1" dirty="0"/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1" y="1914195"/>
            <a:ext cx="227347" cy="1079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12542" tIns="56271" rIns="112542" bIns="56271" numCol="1" anchor="ctr" anchorCtr="0" compatLnSpc="1">
            <a:prstTxWarp prst="textNoShape">
              <a:avLst/>
            </a:prstTxWarp>
            <a:spAutoFit/>
          </a:bodyPr>
          <a:lstStyle/>
          <a:p>
            <a:pPr defTabSz="1125444" eaLnBrk="0" hangingPunct="0"/>
            <a:endParaRPr lang="ru-RU" altLang="ru-RU" sz="1354" b="0">
              <a:ea typeface="Times New Roman" panose="02020603050405020304" pitchFamily="18" charset="0"/>
            </a:endParaRPr>
          </a:p>
          <a:p>
            <a:pPr defTabSz="1125444" eaLnBrk="0" hangingPunct="0"/>
            <a:r>
              <a:rPr lang="ru-RU" altLang="ru-RU" sz="1354" b="0">
                <a:latin typeface="Arial" panose="020B0604020202020204" pitchFamily="34" charset="0"/>
                <a:ea typeface="Times New Roman" panose="02020603050405020304" pitchFamily="18" charset="0"/>
              </a:rPr>
              <a:t/>
            </a:r>
            <a:br>
              <a:rPr lang="ru-RU" altLang="ru-RU" sz="1354" b="0">
                <a:latin typeface="Arial" panose="020B0604020202020204" pitchFamily="34" charset="0"/>
                <a:ea typeface="Times New Roman" panose="02020603050405020304" pitchFamily="18" charset="0"/>
              </a:rPr>
            </a:br>
            <a:r>
              <a:rPr lang="ru-RU" altLang="ru-RU" sz="1354" b="0">
                <a:latin typeface="Arial" panose="020B0604020202020204" pitchFamily="34" charset="0"/>
                <a:ea typeface="Times New Roman" panose="02020603050405020304" pitchFamily="18" charset="0"/>
              </a:rPr>
              <a:t/>
            </a:r>
            <a:br>
              <a:rPr lang="ru-RU" altLang="ru-RU" sz="1354" b="0">
                <a:latin typeface="Arial" panose="020B0604020202020204" pitchFamily="34" charset="0"/>
                <a:ea typeface="Times New Roman" panose="02020603050405020304" pitchFamily="18" charset="0"/>
              </a:rPr>
            </a:br>
            <a:endParaRPr lang="ru-RU" altLang="ru-RU" sz="2215" b="0">
              <a:latin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07368" y="2348880"/>
            <a:ext cx="1152128" cy="1263045"/>
          </a:xfrm>
          <a:prstGeom prst="rect">
            <a:avLst/>
          </a:prstGeom>
          <a:solidFill>
            <a:schemeClr val="accent3">
              <a:lumMod val="20000"/>
              <a:lumOff val="80000"/>
              <a:alpha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TextBox 12"/>
          <p:cNvSpPr txBox="1"/>
          <p:nvPr/>
        </p:nvSpPr>
        <p:spPr>
          <a:xfrm>
            <a:off x="407368" y="2675822"/>
            <a:ext cx="1152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/>
              <a:t>Перечень бюджетных процедур</a:t>
            </a:r>
            <a:endParaRPr lang="ru-RU" sz="1200" b="1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1847528" y="2348880"/>
            <a:ext cx="1368152" cy="1263045"/>
          </a:xfrm>
          <a:prstGeom prst="rect">
            <a:avLst/>
          </a:prstGeom>
          <a:solidFill>
            <a:schemeClr val="accent3">
              <a:lumMod val="20000"/>
              <a:lumOff val="80000"/>
              <a:alpha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TextBox 14"/>
          <p:cNvSpPr txBox="1"/>
          <p:nvPr/>
        </p:nvSpPr>
        <p:spPr>
          <a:xfrm>
            <a:off x="1847528" y="2463280"/>
            <a:ext cx="136815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/>
              <a:t>Перечень операций, составляющих бюджетные процедуры</a:t>
            </a:r>
            <a:endParaRPr lang="ru-RU" sz="1200" b="1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3503712" y="2348880"/>
            <a:ext cx="1512168" cy="1263045"/>
          </a:xfrm>
          <a:prstGeom prst="rect">
            <a:avLst/>
          </a:prstGeom>
          <a:solidFill>
            <a:schemeClr val="accent3">
              <a:lumMod val="20000"/>
              <a:lumOff val="80000"/>
              <a:alpha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TextBox 16"/>
          <p:cNvSpPr txBox="1"/>
          <p:nvPr/>
        </p:nvSpPr>
        <p:spPr>
          <a:xfrm>
            <a:off x="3503712" y="2452247"/>
            <a:ext cx="151216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/>
              <a:t>Оценка сопутствующих рисков по каждой операции</a:t>
            </a:r>
            <a:endParaRPr lang="ru-RU" sz="1200" b="1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5231904" y="2348880"/>
            <a:ext cx="1440160" cy="1263045"/>
          </a:xfrm>
          <a:prstGeom prst="rect">
            <a:avLst/>
          </a:prstGeom>
          <a:solidFill>
            <a:schemeClr val="accent3">
              <a:lumMod val="20000"/>
              <a:lumOff val="80000"/>
              <a:alpha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TextBox 19"/>
          <p:cNvSpPr txBox="1"/>
          <p:nvPr/>
        </p:nvSpPr>
        <p:spPr>
          <a:xfrm>
            <a:off x="5231904" y="2459798"/>
            <a:ext cx="136815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/>
              <a:t>Включение наиболее рисковых операций в карты ВФК</a:t>
            </a:r>
            <a:endParaRPr lang="ru-RU" sz="1200" b="1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6888088" y="2348880"/>
            <a:ext cx="1152128" cy="1263045"/>
          </a:xfrm>
          <a:prstGeom prst="rect">
            <a:avLst/>
          </a:prstGeom>
          <a:solidFill>
            <a:schemeClr val="accent3">
              <a:lumMod val="20000"/>
              <a:lumOff val="80000"/>
              <a:alpha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TextBox 21"/>
          <p:cNvSpPr txBox="1"/>
          <p:nvPr/>
        </p:nvSpPr>
        <p:spPr>
          <a:xfrm>
            <a:off x="6816080" y="2459798"/>
            <a:ext cx="129614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/>
              <a:t>Контроль совершения наиболее рисковых операций</a:t>
            </a:r>
            <a:endParaRPr lang="ru-RU" sz="1200" b="1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6960096" y="4293095"/>
            <a:ext cx="2448272" cy="504057"/>
          </a:xfrm>
          <a:prstGeom prst="rect">
            <a:avLst/>
          </a:prstGeom>
          <a:solidFill>
            <a:schemeClr val="accent3">
              <a:lumMod val="20000"/>
              <a:lumOff val="80000"/>
              <a:alpha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TextBox 24"/>
          <p:cNvSpPr txBox="1"/>
          <p:nvPr/>
        </p:nvSpPr>
        <p:spPr>
          <a:xfrm>
            <a:off x="6816080" y="4293096"/>
            <a:ext cx="27363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/>
              <a:t>Записи в журналах по каждой проверенной операции</a:t>
            </a:r>
            <a:endParaRPr lang="ru-RU" sz="1200" b="1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8328248" y="2348881"/>
            <a:ext cx="1152128" cy="1263045"/>
          </a:xfrm>
          <a:prstGeom prst="rect">
            <a:avLst/>
          </a:prstGeom>
          <a:solidFill>
            <a:schemeClr val="accent3">
              <a:lumMod val="20000"/>
              <a:lumOff val="80000"/>
              <a:alpha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TextBox 31"/>
          <p:cNvSpPr txBox="1"/>
          <p:nvPr/>
        </p:nvSpPr>
        <p:spPr>
          <a:xfrm>
            <a:off x="8256240" y="2636913"/>
            <a:ext cx="12961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/>
              <a:t>Выявление нарушений и недостатков</a:t>
            </a:r>
            <a:endParaRPr lang="ru-RU" sz="1200" b="1" dirty="0"/>
          </a:p>
        </p:txBody>
      </p:sp>
      <p:sp>
        <p:nvSpPr>
          <p:cNvPr id="33" name="Прямоугольник 32"/>
          <p:cNvSpPr/>
          <p:nvPr/>
        </p:nvSpPr>
        <p:spPr>
          <a:xfrm>
            <a:off x="9768408" y="2348881"/>
            <a:ext cx="1512168" cy="1263045"/>
          </a:xfrm>
          <a:prstGeom prst="rect">
            <a:avLst/>
          </a:prstGeom>
          <a:solidFill>
            <a:schemeClr val="accent3">
              <a:lumMod val="20000"/>
              <a:lumOff val="80000"/>
              <a:alpha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TextBox 33"/>
          <p:cNvSpPr txBox="1"/>
          <p:nvPr/>
        </p:nvSpPr>
        <p:spPr>
          <a:xfrm>
            <a:off x="9696400" y="2636913"/>
            <a:ext cx="151216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/>
              <a:t>Принятие мер по выявленным нарушениям и недостаткам</a:t>
            </a:r>
            <a:endParaRPr lang="ru-RU" sz="1200" b="1" dirty="0"/>
          </a:p>
        </p:txBody>
      </p:sp>
      <p:cxnSp>
        <p:nvCxnSpPr>
          <p:cNvPr id="35" name="Прямая со стрелкой 34"/>
          <p:cNvCxnSpPr/>
          <p:nvPr/>
        </p:nvCxnSpPr>
        <p:spPr>
          <a:xfrm>
            <a:off x="7536160" y="3683934"/>
            <a:ext cx="0" cy="537154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Стрелка вправо 35"/>
          <p:cNvSpPr/>
          <p:nvPr/>
        </p:nvSpPr>
        <p:spPr>
          <a:xfrm>
            <a:off x="479376" y="5517232"/>
            <a:ext cx="11089232" cy="576064"/>
          </a:xfrm>
          <a:prstGeom prst="rightArrow">
            <a:avLst/>
          </a:prstGeom>
          <a:solidFill>
            <a:schemeClr val="accent3">
              <a:lumMod val="20000"/>
              <a:lumOff val="80000"/>
              <a:alpha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В рамках 193 Постановления ВФК осуществляется по годовому циклу </a:t>
            </a:r>
            <a:endParaRPr lang="ru-RU" dirty="0">
              <a:solidFill>
                <a:schemeClr val="tx1"/>
              </a:solidFill>
            </a:endParaRPr>
          </a:p>
        </p:txBody>
      </p:sp>
      <p:cxnSp>
        <p:nvCxnSpPr>
          <p:cNvPr id="37" name="Прямая со стрелкой 36"/>
          <p:cNvCxnSpPr/>
          <p:nvPr/>
        </p:nvCxnSpPr>
        <p:spPr>
          <a:xfrm>
            <a:off x="8904312" y="3717032"/>
            <a:ext cx="0" cy="504056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470653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 smtClean="0"/>
              <a:t>Логика ВФК согласно проекта Концепции</a:t>
            </a:r>
            <a:endParaRPr lang="ru-RU" b="1" dirty="0"/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1" y="1914195"/>
            <a:ext cx="227347" cy="1079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12542" tIns="56271" rIns="112542" bIns="56271" numCol="1" anchor="ctr" anchorCtr="0" compatLnSpc="1">
            <a:prstTxWarp prst="textNoShape">
              <a:avLst/>
            </a:prstTxWarp>
            <a:spAutoFit/>
          </a:bodyPr>
          <a:lstStyle/>
          <a:p>
            <a:pPr defTabSz="1125444" eaLnBrk="0" hangingPunct="0"/>
            <a:endParaRPr lang="ru-RU" altLang="ru-RU" sz="1354" b="0">
              <a:ea typeface="Times New Roman" panose="02020603050405020304" pitchFamily="18" charset="0"/>
            </a:endParaRPr>
          </a:p>
          <a:p>
            <a:pPr defTabSz="1125444" eaLnBrk="0" hangingPunct="0"/>
            <a:r>
              <a:rPr lang="ru-RU" altLang="ru-RU" sz="1354" b="0">
                <a:latin typeface="Arial" panose="020B0604020202020204" pitchFamily="34" charset="0"/>
                <a:ea typeface="Times New Roman" panose="02020603050405020304" pitchFamily="18" charset="0"/>
              </a:rPr>
              <a:t/>
            </a:r>
            <a:br>
              <a:rPr lang="ru-RU" altLang="ru-RU" sz="1354" b="0">
                <a:latin typeface="Arial" panose="020B0604020202020204" pitchFamily="34" charset="0"/>
                <a:ea typeface="Times New Roman" panose="02020603050405020304" pitchFamily="18" charset="0"/>
              </a:rPr>
            </a:br>
            <a:r>
              <a:rPr lang="ru-RU" altLang="ru-RU" sz="1354" b="0">
                <a:latin typeface="Arial" panose="020B0604020202020204" pitchFamily="34" charset="0"/>
                <a:ea typeface="Times New Roman" panose="02020603050405020304" pitchFamily="18" charset="0"/>
              </a:rPr>
              <a:t/>
            </a:r>
            <a:br>
              <a:rPr lang="ru-RU" altLang="ru-RU" sz="1354" b="0">
                <a:latin typeface="Arial" panose="020B0604020202020204" pitchFamily="34" charset="0"/>
                <a:ea typeface="Times New Roman" panose="02020603050405020304" pitchFamily="18" charset="0"/>
              </a:rPr>
            </a:br>
            <a:endParaRPr lang="ru-RU" altLang="ru-RU" sz="2215" b="0">
              <a:latin typeface="Arial" panose="020B0604020202020204" pitchFamily="34" charset="0"/>
            </a:endParaRPr>
          </a:p>
        </p:txBody>
      </p:sp>
      <p:sp>
        <p:nvSpPr>
          <p:cNvPr id="12" name="Овал 11"/>
          <p:cNvSpPr/>
          <p:nvPr/>
        </p:nvSpPr>
        <p:spPr>
          <a:xfrm>
            <a:off x="6312024" y="4077072"/>
            <a:ext cx="1584176" cy="1628800"/>
          </a:xfrm>
          <a:prstGeom prst="ellipse">
            <a:avLst/>
          </a:prstGeom>
          <a:solidFill>
            <a:srgbClr val="FFFF00">
              <a:alpha val="4000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Овал 12"/>
          <p:cNvSpPr/>
          <p:nvPr/>
        </p:nvSpPr>
        <p:spPr>
          <a:xfrm>
            <a:off x="1271464" y="2348880"/>
            <a:ext cx="1584176" cy="1628800"/>
          </a:xfrm>
          <a:prstGeom prst="ellipse">
            <a:avLst/>
          </a:prstGeom>
          <a:solidFill>
            <a:srgbClr val="FFFF00">
              <a:alpha val="4000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Овал 13"/>
          <p:cNvSpPr/>
          <p:nvPr/>
        </p:nvSpPr>
        <p:spPr>
          <a:xfrm>
            <a:off x="2927648" y="2348880"/>
            <a:ext cx="1584176" cy="1628800"/>
          </a:xfrm>
          <a:prstGeom prst="ellipse">
            <a:avLst/>
          </a:prstGeom>
          <a:solidFill>
            <a:srgbClr val="FFFF00">
              <a:alpha val="4000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Овал 14"/>
          <p:cNvSpPr/>
          <p:nvPr/>
        </p:nvSpPr>
        <p:spPr>
          <a:xfrm>
            <a:off x="8040216" y="2708920"/>
            <a:ext cx="2592288" cy="2644144"/>
          </a:xfrm>
          <a:prstGeom prst="ellipse">
            <a:avLst/>
          </a:prstGeom>
          <a:solidFill>
            <a:srgbClr val="FFFF00">
              <a:alpha val="4000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Формирование карт ВФК. </a:t>
            </a:r>
          </a:p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Карта ВФК -аналог технологической карты минимизации конкретного риска или группы рисков.</a:t>
            </a:r>
            <a:endParaRPr lang="ru-RU" sz="1600" dirty="0">
              <a:solidFill>
                <a:schemeClr val="tx1"/>
              </a:solidFill>
            </a:endParaRPr>
          </a:p>
        </p:txBody>
      </p:sp>
      <p:cxnSp>
        <p:nvCxnSpPr>
          <p:cNvPr id="16" name="Прямая со стрелкой 15"/>
          <p:cNvCxnSpPr/>
          <p:nvPr/>
        </p:nvCxnSpPr>
        <p:spPr>
          <a:xfrm>
            <a:off x="2783632" y="3140968"/>
            <a:ext cx="216024" cy="0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16"/>
          <p:cNvCxnSpPr/>
          <p:nvPr/>
        </p:nvCxnSpPr>
        <p:spPr>
          <a:xfrm flipH="1">
            <a:off x="7752184" y="4653136"/>
            <a:ext cx="360040" cy="144016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8"/>
          <p:cNvCxnSpPr/>
          <p:nvPr/>
        </p:nvCxnSpPr>
        <p:spPr>
          <a:xfrm flipH="1">
            <a:off x="1847528" y="4581128"/>
            <a:ext cx="2952328" cy="0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2063552" y="4365104"/>
            <a:ext cx="27363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/>
              <a:t>Исключение из реестра при низком уровне «остаточного» риска</a:t>
            </a:r>
            <a:endParaRPr lang="ru-RU" sz="1000" dirty="0"/>
          </a:p>
        </p:txBody>
      </p:sp>
      <p:cxnSp>
        <p:nvCxnSpPr>
          <p:cNvPr id="21" name="Прямая со стрелкой 20"/>
          <p:cNvCxnSpPr/>
          <p:nvPr/>
        </p:nvCxnSpPr>
        <p:spPr>
          <a:xfrm flipH="1">
            <a:off x="1847528" y="5251654"/>
            <a:ext cx="3024336" cy="0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2086292" y="5045114"/>
            <a:ext cx="27363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/>
              <a:t>Продолжение минимизации при высоком уровне «остаточного» риска</a:t>
            </a:r>
            <a:endParaRPr lang="ru-RU" sz="1000" dirty="0"/>
          </a:p>
        </p:txBody>
      </p:sp>
      <p:sp>
        <p:nvSpPr>
          <p:cNvPr id="23" name="TextBox 22"/>
          <p:cNvSpPr txBox="1"/>
          <p:nvPr/>
        </p:nvSpPr>
        <p:spPr>
          <a:xfrm>
            <a:off x="1415480" y="2708920"/>
            <a:ext cx="12241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/>
              <a:t>Выявление рисков по направлениям деятельности</a:t>
            </a:r>
            <a:endParaRPr lang="ru-RU" sz="1200" dirty="0"/>
          </a:p>
        </p:txBody>
      </p:sp>
      <p:sp>
        <p:nvSpPr>
          <p:cNvPr id="25" name="TextBox 24"/>
          <p:cNvSpPr txBox="1"/>
          <p:nvPr/>
        </p:nvSpPr>
        <p:spPr>
          <a:xfrm>
            <a:off x="3071664" y="2996952"/>
            <a:ext cx="12241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/>
              <a:t>Оценка рисков</a:t>
            </a:r>
            <a:endParaRPr lang="ru-RU" sz="1200" dirty="0"/>
          </a:p>
        </p:txBody>
      </p:sp>
      <p:sp>
        <p:nvSpPr>
          <p:cNvPr id="31" name="Овал 30"/>
          <p:cNvSpPr/>
          <p:nvPr/>
        </p:nvSpPr>
        <p:spPr>
          <a:xfrm>
            <a:off x="4583832" y="2348880"/>
            <a:ext cx="1584176" cy="1628800"/>
          </a:xfrm>
          <a:prstGeom prst="ellipse">
            <a:avLst/>
          </a:prstGeom>
          <a:solidFill>
            <a:srgbClr val="FFFF00">
              <a:alpha val="4000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TextBox 31"/>
          <p:cNvSpPr txBox="1"/>
          <p:nvPr/>
        </p:nvSpPr>
        <p:spPr>
          <a:xfrm>
            <a:off x="4763344" y="2780928"/>
            <a:ext cx="12241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/>
              <a:t>Реестры наиболее значимых рисков</a:t>
            </a:r>
            <a:endParaRPr lang="ru-RU" sz="1200" dirty="0"/>
          </a:p>
        </p:txBody>
      </p:sp>
      <p:cxnSp>
        <p:nvCxnSpPr>
          <p:cNvPr id="33" name="Прямая со стрелкой 32"/>
          <p:cNvCxnSpPr/>
          <p:nvPr/>
        </p:nvCxnSpPr>
        <p:spPr>
          <a:xfrm>
            <a:off x="4439816" y="3140968"/>
            <a:ext cx="216024" cy="0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Овал 33"/>
          <p:cNvSpPr/>
          <p:nvPr/>
        </p:nvSpPr>
        <p:spPr>
          <a:xfrm>
            <a:off x="6240016" y="2348880"/>
            <a:ext cx="1584176" cy="1628800"/>
          </a:xfrm>
          <a:prstGeom prst="ellipse">
            <a:avLst/>
          </a:prstGeom>
          <a:solidFill>
            <a:srgbClr val="FFFF00">
              <a:alpha val="4000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35" name="Прямая со стрелкой 34"/>
          <p:cNvCxnSpPr/>
          <p:nvPr/>
        </p:nvCxnSpPr>
        <p:spPr>
          <a:xfrm>
            <a:off x="7752184" y="3140968"/>
            <a:ext cx="432048" cy="216024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6312024" y="2708920"/>
            <a:ext cx="144016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/>
              <a:t>Выработка мер по минимизации рисков, включенных в реестры</a:t>
            </a:r>
            <a:endParaRPr lang="ru-RU" sz="1200" dirty="0"/>
          </a:p>
        </p:txBody>
      </p:sp>
      <p:cxnSp>
        <p:nvCxnSpPr>
          <p:cNvPr id="37" name="Прямая со стрелкой 36"/>
          <p:cNvCxnSpPr/>
          <p:nvPr/>
        </p:nvCxnSpPr>
        <p:spPr>
          <a:xfrm>
            <a:off x="6096000" y="3140968"/>
            <a:ext cx="216024" cy="0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 стрелкой 37"/>
          <p:cNvCxnSpPr/>
          <p:nvPr/>
        </p:nvCxnSpPr>
        <p:spPr>
          <a:xfrm>
            <a:off x="6168008" y="4869160"/>
            <a:ext cx="216024" cy="0"/>
          </a:xfrm>
          <a:prstGeom prst="straightConnector1">
            <a:avLst/>
          </a:prstGeom>
          <a:ln w="25400">
            <a:solidFill>
              <a:schemeClr val="tx1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6384032" y="4365104"/>
            <a:ext cx="136815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/>
              <a:t>Контроль выполнения мероприятий по минимизации рисков</a:t>
            </a:r>
            <a:endParaRPr lang="ru-RU" sz="1200" dirty="0"/>
          </a:p>
        </p:txBody>
      </p:sp>
      <p:sp>
        <p:nvSpPr>
          <p:cNvPr id="40" name="Овал 39"/>
          <p:cNvSpPr/>
          <p:nvPr/>
        </p:nvSpPr>
        <p:spPr>
          <a:xfrm>
            <a:off x="4655840" y="4077072"/>
            <a:ext cx="1584176" cy="1628800"/>
          </a:xfrm>
          <a:prstGeom prst="ellipse">
            <a:avLst/>
          </a:prstGeom>
          <a:solidFill>
            <a:srgbClr val="FFFF00">
              <a:alpha val="4000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TextBox 40"/>
          <p:cNvSpPr txBox="1"/>
          <p:nvPr/>
        </p:nvSpPr>
        <p:spPr>
          <a:xfrm>
            <a:off x="4799856" y="4582869"/>
            <a:ext cx="12241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/>
              <a:t>Оценка «остаточных «рисков</a:t>
            </a:r>
            <a:endParaRPr lang="ru-RU" sz="1200" dirty="0"/>
          </a:p>
        </p:txBody>
      </p:sp>
      <p:sp>
        <p:nvSpPr>
          <p:cNvPr id="42" name="TextBox 41"/>
          <p:cNvSpPr txBox="1"/>
          <p:nvPr/>
        </p:nvSpPr>
        <p:spPr>
          <a:xfrm>
            <a:off x="2207568" y="3933056"/>
            <a:ext cx="12961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</a:rPr>
              <a:t>Концепция</a:t>
            </a:r>
            <a:endParaRPr lang="ru-RU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70653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 smtClean="0"/>
              <a:t>ВФК в отношении процедур закупок.</a:t>
            </a:r>
            <a:endParaRPr lang="ru-RU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-8147259" y="1764536"/>
            <a:ext cx="5563675" cy="6232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600" dirty="0"/>
          </a:p>
          <a:p>
            <a:pPr marL="15631">
              <a:spcBef>
                <a:spcPts val="319"/>
              </a:spcBef>
            </a:pPr>
            <a:endParaRPr lang="ru-RU" sz="1600" dirty="0"/>
          </a:p>
        </p:txBody>
      </p:sp>
      <p:grpSp>
        <p:nvGrpSpPr>
          <p:cNvPr id="7" name="Группа 6"/>
          <p:cNvGrpSpPr/>
          <p:nvPr/>
        </p:nvGrpSpPr>
        <p:grpSpPr>
          <a:xfrm>
            <a:off x="695400" y="2000038"/>
            <a:ext cx="4590944" cy="4381290"/>
            <a:chOff x="646794" y="2344432"/>
            <a:chExt cx="2660601" cy="3559801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646794" y="2628334"/>
              <a:ext cx="2660601" cy="32758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600" b="0" dirty="0" smtClean="0"/>
                <a:t>Сотрудники, </a:t>
              </a:r>
              <a:r>
                <a:rPr lang="ru-RU" sz="1600" b="0" dirty="0" smtClean="0"/>
                <a:t>выполняющие операции </a:t>
              </a:r>
              <a:r>
                <a:rPr lang="ru-RU" sz="1600" b="0" dirty="0" smtClean="0"/>
                <a:t>закупок, </a:t>
              </a:r>
              <a:r>
                <a:rPr lang="ru-RU" sz="1600" b="0" dirty="0" smtClean="0"/>
                <a:t>выявляют риск невыполнения или неполного (неправильного) выполнения порученной им операции.</a:t>
              </a:r>
            </a:p>
            <a:p>
              <a:r>
                <a:rPr lang="ru-RU" sz="1600" b="0" dirty="0" smtClean="0"/>
                <a:t> </a:t>
              </a:r>
            </a:p>
            <a:p>
              <a:r>
                <a:rPr lang="ru-RU" sz="1600" b="0" dirty="0" smtClean="0"/>
                <a:t>Выявление </a:t>
              </a:r>
              <a:r>
                <a:rPr lang="ru-RU" sz="1600" b="0" dirty="0" smtClean="0"/>
                <a:t>указанного риска сотрудниками </a:t>
              </a:r>
              <a:r>
                <a:rPr lang="ru-RU" sz="1600" b="0" dirty="0" smtClean="0"/>
                <a:t>заключается </a:t>
              </a:r>
              <a:r>
                <a:rPr lang="ru-RU" sz="1600" b="0" dirty="0" smtClean="0"/>
                <a:t>в анализе ими возможных причин невыполнения или неполного (неправильного) выполнения операции. </a:t>
              </a:r>
              <a:endParaRPr lang="ru-RU" sz="1600" b="0" dirty="0" smtClean="0"/>
            </a:p>
            <a:p>
              <a:endParaRPr lang="ru-RU" sz="1600" b="0" dirty="0" smtClean="0"/>
            </a:p>
            <a:p>
              <a:r>
                <a:rPr lang="ru-RU" sz="1600" b="0" dirty="0" smtClean="0"/>
                <a:t>Перечень возможных причин может определяться сотрудником самостоятельно, с помощью другого сотрудника (если в Организации практикуется кураторство или наставничество) или с помощью непосредственного руководителя</a:t>
              </a:r>
              <a:r>
                <a:rPr lang="ru-RU" sz="1600" b="0" dirty="0" smtClean="0"/>
                <a:t>.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704850" y="2344432"/>
              <a:ext cx="758987" cy="235429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0"/>
                </a:spcBef>
              </a:pPr>
              <a:r>
                <a:rPr lang="ru-RU" sz="2092" dirty="0" smtClean="0">
                  <a:solidFill>
                    <a:schemeClr val="tx1">
                      <a:lumMod val="90000"/>
                      <a:lumOff val="10000"/>
                    </a:schemeClr>
                  </a:solidFill>
                  <a:latin typeface="+mn-lt"/>
                  <a:cs typeface="Arial" pitchFamily="34" charset="0"/>
                </a:rPr>
                <a:t>Сотрудники</a:t>
              </a:r>
              <a:endParaRPr lang="ru-RU" sz="2092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cs typeface="Arial" pitchFamily="34" charset="0"/>
              </a:endParaRPr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5947351" y="2144336"/>
            <a:ext cx="5891236" cy="24929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ru-RU" sz="1800" dirty="0" smtClean="0">
                <a:solidFill>
                  <a:schemeClr val="accent1"/>
                </a:solidFill>
                <a:latin typeface="+mn-lt"/>
                <a:cs typeface="Arial" pitchFamily="34" charset="0"/>
              </a:rPr>
              <a:t>Возможные причины риска</a:t>
            </a:r>
            <a:endParaRPr lang="ru-RU" sz="1800" dirty="0">
              <a:solidFill>
                <a:schemeClr val="accent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652874" y="1922585"/>
            <a:ext cx="6026516" cy="4386735"/>
          </a:xfrm>
          <a:prstGeom prst="rect">
            <a:avLst/>
          </a:prstGeom>
          <a:noFill/>
          <a:ln w="19050" cmpd="sng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615" tIns="0" rIns="88615" bIns="0" rtlCol="0" anchor="ctr"/>
          <a:lstStyle/>
          <a:p>
            <a:pPr algn="ctr">
              <a:lnSpc>
                <a:spcPct val="90000"/>
              </a:lnSpc>
              <a:spcBef>
                <a:spcPts val="369"/>
              </a:spcBef>
            </a:pPr>
            <a:endParaRPr lang="ru-RU" sz="1846" b="0" dirty="0">
              <a:solidFill>
                <a:schemeClr val="tx1"/>
              </a:solidFill>
              <a:cs typeface="Arial" pitchFamily="34" charset="0"/>
            </a:endParaRPr>
          </a:p>
        </p:txBody>
      </p:sp>
      <p:grpSp>
        <p:nvGrpSpPr>
          <p:cNvPr id="10" name="Группа 9"/>
          <p:cNvGrpSpPr/>
          <p:nvPr/>
        </p:nvGrpSpPr>
        <p:grpSpPr>
          <a:xfrm>
            <a:off x="5663952" y="2564902"/>
            <a:ext cx="5497633" cy="738665"/>
            <a:chOff x="5071293" y="3063981"/>
            <a:chExt cx="4466827" cy="600165"/>
          </a:xfrm>
        </p:grpSpPr>
        <p:sp>
          <p:nvSpPr>
            <p:cNvPr id="29" name="Прямоугольник 28"/>
            <p:cNvSpPr/>
            <p:nvPr/>
          </p:nvSpPr>
          <p:spPr>
            <a:xfrm>
              <a:off x="5597852" y="3063982"/>
              <a:ext cx="3940268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400" dirty="0" smtClean="0"/>
                <a:t>Недостаточная регламентация или неактуальность </a:t>
              </a:r>
              <a:r>
                <a:rPr lang="ru-RU" sz="1400" dirty="0" smtClean="0"/>
                <a:t>внутреннего </a:t>
              </a:r>
              <a:r>
                <a:rPr lang="ru-RU" sz="1400" dirty="0" smtClean="0"/>
                <a:t>документа, </a:t>
              </a:r>
              <a:r>
                <a:rPr lang="ru-RU" sz="1400" dirty="0" smtClean="0"/>
                <a:t>регламентирующего вопросы выполнения конкретной </a:t>
              </a:r>
              <a:r>
                <a:rPr lang="ru-RU" sz="1400" dirty="0" smtClean="0"/>
                <a:t>операции</a:t>
              </a:r>
              <a:endParaRPr lang="ru-RU" sz="1354" b="0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5071293" y="3063981"/>
              <a:ext cx="701487" cy="3828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738"/>
                </a:spcBef>
                <a:spcAft>
                  <a:spcPts val="738"/>
                </a:spcAft>
              </a:pPr>
              <a:r>
                <a:rPr lang="ru-RU" sz="2462" dirty="0">
                  <a:solidFill>
                    <a:schemeClr val="tx2"/>
                  </a:solidFill>
                  <a:latin typeface="+mn-lt"/>
                </a:rPr>
                <a:t>01.</a:t>
              </a:r>
            </a:p>
          </p:txBody>
        </p:sp>
      </p:grpSp>
      <p:grpSp>
        <p:nvGrpSpPr>
          <p:cNvPr id="20" name="Группа 19"/>
          <p:cNvGrpSpPr/>
          <p:nvPr/>
        </p:nvGrpSpPr>
        <p:grpSpPr>
          <a:xfrm>
            <a:off x="5663952" y="3501006"/>
            <a:ext cx="5823532" cy="738666"/>
            <a:chOff x="4950947" y="2766112"/>
            <a:chExt cx="4731620" cy="600166"/>
          </a:xfrm>
        </p:grpSpPr>
        <p:sp>
          <p:nvSpPr>
            <p:cNvPr id="21" name="Прямоугольник 20"/>
            <p:cNvSpPr/>
            <p:nvPr/>
          </p:nvSpPr>
          <p:spPr>
            <a:xfrm>
              <a:off x="5477506" y="2766114"/>
              <a:ext cx="4205061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400" dirty="0" smtClean="0"/>
                <a:t>Отсутствие или недостаточность у сотрудника квалификации, профессиональных навыков или умений</a:t>
              </a:r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4950947" y="2766112"/>
              <a:ext cx="701487" cy="3828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738"/>
                </a:spcBef>
                <a:spcAft>
                  <a:spcPts val="738"/>
                </a:spcAft>
              </a:pPr>
              <a:r>
                <a:rPr lang="ru-RU" sz="2462" dirty="0">
                  <a:solidFill>
                    <a:schemeClr val="tx2"/>
                  </a:solidFill>
                  <a:latin typeface="+mn-lt"/>
                </a:rPr>
                <a:t>02.</a:t>
              </a:r>
            </a:p>
          </p:txBody>
        </p:sp>
      </p:grpSp>
      <p:grpSp>
        <p:nvGrpSpPr>
          <p:cNvPr id="24" name="Группа 23"/>
          <p:cNvGrpSpPr/>
          <p:nvPr/>
        </p:nvGrpSpPr>
        <p:grpSpPr>
          <a:xfrm>
            <a:off x="5701290" y="4221091"/>
            <a:ext cx="5786193" cy="595222"/>
            <a:chOff x="5071293" y="3063981"/>
            <a:chExt cx="4701282" cy="483617"/>
          </a:xfrm>
        </p:grpSpPr>
        <p:sp>
          <p:nvSpPr>
            <p:cNvPr id="25" name="Прямоугольник 24"/>
            <p:cNvSpPr/>
            <p:nvPr/>
          </p:nvSpPr>
          <p:spPr>
            <a:xfrm>
              <a:off x="5567514" y="3122483"/>
              <a:ext cx="4205061" cy="42511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400" dirty="0" smtClean="0"/>
                <a:t>Отсутствие у сотрудника опыта выполнения конкретной операции</a:t>
              </a:r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5071293" y="3063981"/>
              <a:ext cx="701487" cy="3828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738"/>
                </a:spcBef>
                <a:spcAft>
                  <a:spcPts val="738"/>
                </a:spcAft>
              </a:pPr>
              <a:r>
                <a:rPr lang="ru-RU" sz="2462" dirty="0">
                  <a:solidFill>
                    <a:schemeClr val="tx2"/>
                  </a:solidFill>
                  <a:latin typeface="+mn-lt"/>
                </a:rPr>
                <a:t>03.</a:t>
              </a:r>
            </a:p>
          </p:txBody>
        </p:sp>
      </p:grpSp>
      <p:grpSp>
        <p:nvGrpSpPr>
          <p:cNvPr id="26" name="Группа 25"/>
          <p:cNvGrpSpPr/>
          <p:nvPr/>
        </p:nvGrpSpPr>
        <p:grpSpPr>
          <a:xfrm>
            <a:off x="5735960" y="4869156"/>
            <a:ext cx="5751523" cy="594427"/>
            <a:chOff x="5071293" y="3063981"/>
            <a:chExt cx="4673113" cy="482972"/>
          </a:xfrm>
        </p:grpSpPr>
        <p:sp>
          <p:nvSpPr>
            <p:cNvPr id="27" name="Прямоугольник 26"/>
            <p:cNvSpPr/>
            <p:nvPr/>
          </p:nvSpPr>
          <p:spPr>
            <a:xfrm>
              <a:off x="5539345" y="3121837"/>
              <a:ext cx="4205061" cy="4251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400" dirty="0" smtClean="0"/>
                <a:t>Длительный перерыв в выполнении сотрудником своих обязанностей</a:t>
              </a:r>
              <a:endParaRPr lang="ru-RU" sz="1400" dirty="0"/>
            </a:p>
          </p:txBody>
        </p:sp>
        <p:sp>
          <p:nvSpPr>
            <p:cNvPr id="30" name="Прямоугольник 29"/>
            <p:cNvSpPr/>
            <p:nvPr/>
          </p:nvSpPr>
          <p:spPr>
            <a:xfrm>
              <a:off x="5071293" y="3063981"/>
              <a:ext cx="701487" cy="3828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738"/>
                </a:spcBef>
                <a:spcAft>
                  <a:spcPts val="738"/>
                </a:spcAft>
              </a:pPr>
              <a:r>
                <a:rPr lang="ru-RU" sz="2462" dirty="0">
                  <a:solidFill>
                    <a:schemeClr val="tx2"/>
                  </a:solidFill>
                  <a:latin typeface="+mn-lt"/>
                </a:rPr>
                <a:t>04.</a:t>
              </a:r>
            </a:p>
          </p:txBody>
        </p:sp>
      </p:grpSp>
      <p:grpSp>
        <p:nvGrpSpPr>
          <p:cNvPr id="31" name="Группа 30"/>
          <p:cNvGrpSpPr/>
          <p:nvPr/>
        </p:nvGrpSpPr>
        <p:grpSpPr>
          <a:xfrm>
            <a:off x="5735960" y="5511394"/>
            <a:ext cx="5751523" cy="786896"/>
            <a:chOff x="5071293" y="3063981"/>
            <a:chExt cx="4673113" cy="639352"/>
          </a:xfrm>
        </p:grpSpPr>
        <p:sp>
          <p:nvSpPr>
            <p:cNvPr id="33" name="Прямоугольник 32"/>
            <p:cNvSpPr/>
            <p:nvPr/>
          </p:nvSpPr>
          <p:spPr>
            <a:xfrm>
              <a:off x="5539345" y="3103169"/>
              <a:ext cx="4205061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400" dirty="0" smtClean="0"/>
                <a:t>Отсутствие или недостаточность первичной информации, требуемой для выполнения конкретной операции.</a:t>
              </a: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5071293" y="3063981"/>
              <a:ext cx="701487" cy="3828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738"/>
                </a:spcBef>
                <a:spcAft>
                  <a:spcPts val="738"/>
                </a:spcAft>
              </a:pPr>
              <a:r>
                <a:rPr lang="ru-RU" sz="2462" dirty="0" smtClean="0">
                  <a:solidFill>
                    <a:schemeClr val="tx2"/>
                  </a:solidFill>
                  <a:latin typeface="+mn-lt"/>
                </a:rPr>
                <a:t>05.</a:t>
              </a:r>
              <a:endParaRPr lang="ru-RU" sz="2462" dirty="0">
                <a:solidFill>
                  <a:schemeClr val="tx2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947108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 smtClean="0"/>
              <a:t>ВФК в отношении процедур закупок</a:t>
            </a:r>
            <a:r>
              <a:rPr lang="en-US" b="1" dirty="0" smtClean="0"/>
              <a:t> (2)</a:t>
            </a:r>
            <a:r>
              <a:rPr lang="ru-RU" b="1" dirty="0" smtClean="0"/>
              <a:t>.</a:t>
            </a:r>
            <a:endParaRPr lang="ru-RU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-8147259" y="1764536"/>
            <a:ext cx="5563675" cy="6232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600" dirty="0"/>
          </a:p>
          <a:p>
            <a:pPr marL="15631">
              <a:spcBef>
                <a:spcPts val="319"/>
              </a:spcBef>
            </a:pPr>
            <a:endParaRPr lang="ru-RU" sz="1600" dirty="0"/>
          </a:p>
        </p:txBody>
      </p:sp>
      <p:grpSp>
        <p:nvGrpSpPr>
          <p:cNvPr id="3" name="Группа 6"/>
          <p:cNvGrpSpPr/>
          <p:nvPr/>
        </p:nvGrpSpPr>
        <p:grpSpPr>
          <a:xfrm>
            <a:off x="695401" y="2000037"/>
            <a:ext cx="4680519" cy="4744386"/>
            <a:chOff x="646794" y="2344432"/>
            <a:chExt cx="2660601" cy="1812128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646794" y="2628334"/>
              <a:ext cx="2660601" cy="15282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400" b="0" dirty="0" smtClean="0"/>
                <a:t>Руководители подразделений осуществляют выявление рисков, сопутствующих процедурам или составляющих их операциям, выполняемых подразделением в рамках осуществления </a:t>
              </a:r>
              <a:r>
                <a:rPr lang="ru-RU" sz="1400" b="0" dirty="0" smtClean="0"/>
                <a:t>закупочных процедур.</a:t>
              </a:r>
            </a:p>
            <a:p>
              <a:r>
                <a:rPr lang="ru-RU" sz="1400" b="0" dirty="0" smtClean="0"/>
                <a:t>Выявление рисков руководителями подразделений заключается в анализе ими возможных причин реализации рисков. </a:t>
              </a:r>
            </a:p>
            <a:p>
              <a:r>
                <a:rPr lang="ru-RU" sz="1400" b="0" dirty="0" smtClean="0"/>
                <a:t>Перечень возможных причин реализации рисков может определяться руководителем подразделения самостоятельно, с помощью должностного лица, на которое возложены обязанности по координации в Организации деятельности по осуществлению внутреннего финансового контроля, с помощью подразделения внутреннего аудита (внутреннего аудитора) или с помощью непосредственного руководителя.</a:t>
              </a:r>
            </a:p>
            <a:p>
              <a:endParaRPr lang="ru-RU" sz="1600" b="0" dirty="0" smtClean="0"/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704851" y="2344432"/>
              <a:ext cx="2478433" cy="253921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0"/>
                </a:spcBef>
              </a:pPr>
              <a:r>
                <a:rPr lang="ru-RU" sz="2400" dirty="0" smtClean="0"/>
                <a:t>Руководители подразделений</a:t>
              </a:r>
              <a:endParaRPr lang="ru-RU" sz="2092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cs typeface="Arial" pitchFamily="34" charset="0"/>
              </a:endParaRPr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5965404" y="2060848"/>
            <a:ext cx="5891236" cy="24929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ru-RU" sz="1800" dirty="0" smtClean="0">
                <a:solidFill>
                  <a:schemeClr val="accent1"/>
                </a:solidFill>
                <a:latin typeface="+mn-lt"/>
                <a:cs typeface="Arial" pitchFamily="34" charset="0"/>
              </a:rPr>
              <a:t>Возможные причины рисков</a:t>
            </a:r>
            <a:endParaRPr lang="ru-RU" sz="1800" dirty="0">
              <a:solidFill>
                <a:schemeClr val="accent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519936" y="1922585"/>
            <a:ext cx="6159454" cy="4386735"/>
          </a:xfrm>
          <a:prstGeom prst="rect">
            <a:avLst/>
          </a:prstGeom>
          <a:noFill/>
          <a:ln w="19050" cmpd="sng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615" tIns="0" rIns="88615" bIns="0" rtlCol="0" anchor="ctr"/>
          <a:lstStyle/>
          <a:p>
            <a:pPr algn="ctr">
              <a:lnSpc>
                <a:spcPct val="90000"/>
              </a:lnSpc>
              <a:spcBef>
                <a:spcPts val="369"/>
              </a:spcBef>
            </a:pPr>
            <a:endParaRPr lang="ru-RU" sz="1846" b="0" dirty="0">
              <a:solidFill>
                <a:schemeClr val="tx1"/>
              </a:solidFill>
              <a:cs typeface="Arial" pitchFamily="34" charset="0"/>
            </a:endParaRPr>
          </a:p>
        </p:txBody>
      </p:sp>
      <p:grpSp>
        <p:nvGrpSpPr>
          <p:cNvPr id="4" name="Группа 9"/>
          <p:cNvGrpSpPr/>
          <p:nvPr/>
        </p:nvGrpSpPr>
        <p:grpSpPr>
          <a:xfrm>
            <a:off x="5682005" y="2481414"/>
            <a:ext cx="5497633" cy="738665"/>
            <a:chOff x="5071293" y="3063981"/>
            <a:chExt cx="4466827" cy="600165"/>
          </a:xfrm>
        </p:grpSpPr>
        <p:sp>
          <p:nvSpPr>
            <p:cNvPr id="29" name="Прямоугольник 28"/>
            <p:cNvSpPr/>
            <p:nvPr/>
          </p:nvSpPr>
          <p:spPr>
            <a:xfrm>
              <a:off x="5597852" y="3063982"/>
              <a:ext cx="3940268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400" dirty="0" smtClean="0"/>
                <a:t>Неполнота </a:t>
              </a:r>
              <a:r>
                <a:rPr lang="ru-RU" sz="1400" dirty="0" smtClean="0"/>
                <a:t>или неактуальность внутренних </a:t>
              </a:r>
              <a:r>
                <a:rPr lang="ru-RU" sz="1400" dirty="0" smtClean="0"/>
                <a:t>документов, </a:t>
              </a:r>
              <a:r>
                <a:rPr lang="ru-RU" sz="1400" dirty="0" smtClean="0"/>
                <a:t>регулирующих выполнение операций и процедур в рамках осуществления </a:t>
              </a:r>
              <a:r>
                <a:rPr lang="ru-RU" sz="1400" dirty="0" smtClean="0"/>
                <a:t>закупок</a:t>
              </a:r>
              <a:endParaRPr lang="ru-RU" sz="1354" b="0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5071293" y="3063981"/>
              <a:ext cx="701487" cy="3828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738"/>
                </a:spcBef>
                <a:spcAft>
                  <a:spcPts val="738"/>
                </a:spcAft>
              </a:pPr>
              <a:r>
                <a:rPr lang="ru-RU" sz="2462" dirty="0">
                  <a:solidFill>
                    <a:schemeClr val="tx2"/>
                  </a:solidFill>
                  <a:latin typeface="+mn-lt"/>
                </a:rPr>
                <a:t>01.</a:t>
              </a:r>
            </a:p>
          </p:txBody>
        </p:sp>
      </p:grpSp>
      <p:grpSp>
        <p:nvGrpSpPr>
          <p:cNvPr id="5" name="Группа 19"/>
          <p:cNvGrpSpPr/>
          <p:nvPr/>
        </p:nvGrpSpPr>
        <p:grpSpPr>
          <a:xfrm>
            <a:off x="5682005" y="3212976"/>
            <a:ext cx="5823532" cy="738667"/>
            <a:chOff x="4950947" y="2766112"/>
            <a:chExt cx="4731620" cy="600167"/>
          </a:xfrm>
        </p:grpSpPr>
        <p:sp>
          <p:nvSpPr>
            <p:cNvPr id="21" name="Прямоугольник 20"/>
            <p:cNvSpPr/>
            <p:nvPr/>
          </p:nvSpPr>
          <p:spPr>
            <a:xfrm>
              <a:off x="5477506" y="2766114"/>
              <a:ext cx="4205061" cy="6001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400" dirty="0" smtClean="0"/>
                <a:t>Отсутствие </a:t>
              </a:r>
              <a:r>
                <a:rPr lang="ru-RU" sz="1400" dirty="0" smtClean="0"/>
                <a:t>или </a:t>
              </a:r>
              <a:r>
                <a:rPr lang="ru-RU" sz="1400" dirty="0" smtClean="0"/>
                <a:t>недостаток опыта подразделения по выполнению закрепленных за ним операций и процедур</a:t>
              </a:r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4950947" y="2766112"/>
              <a:ext cx="701487" cy="3828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738"/>
                </a:spcBef>
                <a:spcAft>
                  <a:spcPts val="738"/>
                </a:spcAft>
              </a:pPr>
              <a:r>
                <a:rPr lang="ru-RU" sz="2462" dirty="0">
                  <a:solidFill>
                    <a:schemeClr val="tx2"/>
                  </a:solidFill>
                  <a:latin typeface="+mn-lt"/>
                </a:rPr>
                <a:t>02.</a:t>
              </a:r>
            </a:p>
          </p:txBody>
        </p:sp>
      </p:grpSp>
      <p:grpSp>
        <p:nvGrpSpPr>
          <p:cNvPr id="6" name="Группа 23"/>
          <p:cNvGrpSpPr/>
          <p:nvPr/>
        </p:nvGrpSpPr>
        <p:grpSpPr>
          <a:xfrm>
            <a:off x="5719343" y="3789040"/>
            <a:ext cx="5786193" cy="810661"/>
            <a:chOff x="5071293" y="3063981"/>
            <a:chExt cx="4701282" cy="658660"/>
          </a:xfrm>
        </p:grpSpPr>
        <p:sp>
          <p:nvSpPr>
            <p:cNvPr id="25" name="Прямоугольник 24"/>
            <p:cNvSpPr/>
            <p:nvPr/>
          </p:nvSpPr>
          <p:spPr>
            <a:xfrm>
              <a:off x="5567514" y="3122478"/>
              <a:ext cx="4205061" cy="6001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400" dirty="0" smtClean="0"/>
                <a:t>Неготовность или </a:t>
              </a:r>
              <a:r>
                <a:rPr lang="ru-RU" sz="1400" dirty="0" smtClean="0"/>
                <a:t>неполная готовность подразделения к выполнению операций, связанная с качеством и количеством сотрудников</a:t>
              </a:r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5071293" y="3063981"/>
              <a:ext cx="701487" cy="3828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738"/>
                </a:spcBef>
                <a:spcAft>
                  <a:spcPts val="738"/>
                </a:spcAft>
              </a:pPr>
              <a:r>
                <a:rPr lang="ru-RU" sz="2462" dirty="0">
                  <a:solidFill>
                    <a:schemeClr val="tx2"/>
                  </a:solidFill>
                  <a:latin typeface="+mn-lt"/>
                </a:rPr>
                <a:t>03.</a:t>
              </a:r>
            </a:p>
          </p:txBody>
        </p:sp>
      </p:grpSp>
      <p:grpSp>
        <p:nvGrpSpPr>
          <p:cNvPr id="7" name="Группа 25"/>
          <p:cNvGrpSpPr/>
          <p:nvPr/>
        </p:nvGrpSpPr>
        <p:grpSpPr>
          <a:xfrm>
            <a:off x="5735960" y="4509110"/>
            <a:ext cx="5751523" cy="471218"/>
            <a:chOff x="5071293" y="3063981"/>
            <a:chExt cx="4673113" cy="382865"/>
          </a:xfrm>
        </p:grpSpPr>
        <p:sp>
          <p:nvSpPr>
            <p:cNvPr id="27" name="Прямоугольник 26"/>
            <p:cNvSpPr/>
            <p:nvPr/>
          </p:nvSpPr>
          <p:spPr>
            <a:xfrm>
              <a:off x="5539345" y="3121839"/>
              <a:ext cx="4205061" cy="25006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400" dirty="0" smtClean="0"/>
                <a:t>Нездоровая моральная </a:t>
              </a:r>
              <a:r>
                <a:rPr lang="ru-RU" sz="1400" dirty="0" smtClean="0"/>
                <a:t>атмосфера в подразделении</a:t>
              </a:r>
              <a:endParaRPr lang="ru-RU" sz="1400" dirty="0"/>
            </a:p>
          </p:txBody>
        </p:sp>
        <p:sp>
          <p:nvSpPr>
            <p:cNvPr id="30" name="Прямоугольник 29"/>
            <p:cNvSpPr/>
            <p:nvPr/>
          </p:nvSpPr>
          <p:spPr>
            <a:xfrm>
              <a:off x="5071293" y="3063981"/>
              <a:ext cx="701487" cy="3828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738"/>
                </a:spcBef>
                <a:spcAft>
                  <a:spcPts val="738"/>
                </a:spcAft>
              </a:pPr>
              <a:r>
                <a:rPr lang="ru-RU" sz="2462" dirty="0">
                  <a:solidFill>
                    <a:schemeClr val="tx2"/>
                  </a:solidFill>
                  <a:latin typeface="+mn-lt"/>
                </a:rPr>
                <a:t>04.</a:t>
              </a:r>
            </a:p>
          </p:txBody>
        </p:sp>
      </p:grpSp>
      <p:grpSp>
        <p:nvGrpSpPr>
          <p:cNvPr id="10" name="Группа 30"/>
          <p:cNvGrpSpPr/>
          <p:nvPr/>
        </p:nvGrpSpPr>
        <p:grpSpPr>
          <a:xfrm>
            <a:off x="5754013" y="4941170"/>
            <a:ext cx="5751523" cy="571451"/>
            <a:chOff x="5071293" y="3063981"/>
            <a:chExt cx="4673113" cy="464303"/>
          </a:xfrm>
        </p:grpSpPr>
        <p:sp>
          <p:nvSpPr>
            <p:cNvPr id="33" name="Прямоугольник 32"/>
            <p:cNvSpPr/>
            <p:nvPr/>
          </p:nvSpPr>
          <p:spPr>
            <a:xfrm>
              <a:off x="5539345" y="3103168"/>
              <a:ext cx="4205061" cy="4251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400" dirty="0" smtClean="0"/>
                <a:t>Наличие недостатков </a:t>
              </a:r>
              <a:r>
                <a:rPr lang="ru-RU" sz="1400" dirty="0" smtClean="0"/>
                <a:t>в организации информационного обмена с другими подразделениями</a:t>
              </a:r>
              <a:r>
                <a:rPr lang="ru-RU" sz="1400" dirty="0" smtClean="0"/>
                <a:t>.</a:t>
              </a:r>
              <a:endParaRPr lang="ru-RU" sz="1400" dirty="0" smtClean="0"/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5071293" y="3063981"/>
              <a:ext cx="701487" cy="3828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738"/>
                </a:spcBef>
                <a:spcAft>
                  <a:spcPts val="738"/>
                </a:spcAft>
              </a:pPr>
              <a:r>
                <a:rPr lang="ru-RU" sz="2462" dirty="0" smtClean="0">
                  <a:solidFill>
                    <a:schemeClr val="tx2"/>
                  </a:solidFill>
                  <a:latin typeface="+mn-lt"/>
                </a:rPr>
                <a:t>05.</a:t>
              </a:r>
              <a:endParaRPr lang="ru-RU" sz="2462" dirty="0">
                <a:solidFill>
                  <a:schemeClr val="tx2"/>
                </a:solidFill>
                <a:latin typeface="+mn-lt"/>
              </a:endParaRPr>
            </a:p>
          </p:txBody>
        </p:sp>
      </p:grpSp>
      <p:grpSp>
        <p:nvGrpSpPr>
          <p:cNvPr id="24" name="Группа 30"/>
          <p:cNvGrpSpPr/>
          <p:nvPr/>
        </p:nvGrpSpPr>
        <p:grpSpPr>
          <a:xfrm>
            <a:off x="5735960" y="5517232"/>
            <a:ext cx="5751523" cy="571454"/>
            <a:chOff x="5071293" y="3063981"/>
            <a:chExt cx="4673113" cy="464306"/>
          </a:xfrm>
        </p:grpSpPr>
        <p:sp>
          <p:nvSpPr>
            <p:cNvPr id="26" name="Прямоугольник 25"/>
            <p:cNvSpPr/>
            <p:nvPr/>
          </p:nvSpPr>
          <p:spPr>
            <a:xfrm>
              <a:off x="5539345" y="3103171"/>
              <a:ext cx="4205061" cy="4251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400" dirty="0" smtClean="0"/>
                <a:t>Недостаточная техническая </a:t>
              </a:r>
              <a:r>
                <a:rPr lang="ru-RU" sz="1400" dirty="0" smtClean="0"/>
                <a:t>оснащенность и (или) материальное обеспечение подразделения</a:t>
              </a:r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5071293" y="3063981"/>
              <a:ext cx="701487" cy="3828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738"/>
                </a:spcBef>
                <a:spcAft>
                  <a:spcPts val="738"/>
                </a:spcAft>
              </a:pPr>
              <a:r>
                <a:rPr lang="ru-RU" sz="2462" dirty="0" smtClean="0">
                  <a:solidFill>
                    <a:schemeClr val="tx2"/>
                  </a:solidFill>
                  <a:latin typeface="+mn-lt"/>
                </a:rPr>
                <a:t>0</a:t>
              </a:r>
              <a:r>
                <a:rPr lang="en-US" sz="2462" dirty="0" smtClean="0">
                  <a:solidFill>
                    <a:schemeClr val="tx2"/>
                  </a:solidFill>
                  <a:latin typeface="+mn-lt"/>
                </a:rPr>
                <a:t>6</a:t>
              </a:r>
              <a:r>
                <a:rPr lang="ru-RU" sz="2462" dirty="0" smtClean="0">
                  <a:solidFill>
                    <a:schemeClr val="tx2"/>
                  </a:solidFill>
                  <a:latin typeface="+mn-lt"/>
                </a:rPr>
                <a:t>.</a:t>
              </a:r>
              <a:endParaRPr lang="ru-RU" sz="2462" dirty="0">
                <a:solidFill>
                  <a:schemeClr val="tx2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947108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 smtClean="0"/>
              <a:t>ВФК в отношении процедур закупок</a:t>
            </a:r>
            <a:r>
              <a:rPr lang="en-US" b="1" dirty="0" smtClean="0"/>
              <a:t> (3)</a:t>
            </a:r>
            <a:r>
              <a:rPr lang="ru-RU" b="1" dirty="0" smtClean="0"/>
              <a:t>.</a:t>
            </a:r>
            <a:endParaRPr lang="ru-RU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-8147259" y="1764536"/>
            <a:ext cx="5563675" cy="6232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600" dirty="0"/>
          </a:p>
          <a:p>
            <a:pPr marL="15631">
              <a:spcBef>
                <a:spcPts val="319"/>
              </a:spcBef>
            </a:pPr>
            <a:endParaRPr lang="ru-RU" sz="1600" dirty="0"/>
          </a:p>
        </p:txBody>
      </p:sp>
      <p:grpSp>
        <p:nvGrpSpPr>
          <p:cNvPr id="3" name="Группа 6"/>
          <p:cNvGrpSpPr/>
          <p:nvPr/>
        </p:nvGrpSpPr>
        <p:grpSpPr>
          <a:xfrm>
            <a:off x="695401" y="2000040"/>
            <a:ext cx="4680519" cy="3888853"/>
            <a:chOff x="646794" y="2344431"/>
            <a:chExt cx="2660601" cy="1485354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646794" y="2560182"/>
              <a:ext cx="2660601" cy="12696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400" b="0" dirty="0" smtClean="0"/>
                <a:t>Руководство Организации осуществляет выявление рисков, сопутствующих процессам принятия и выполнения управленческих решений в рамках </a:t>
              </a:r>
              <a:r>
                <a:rPr lang="ru-RU" sz="1400" b="0" dirty="0" smtClean="0"/>
                <a:t>закупочных процедур.</a:t>
              </a:r>
            </a:p>
            <a:p>
              <a:r>
                <a:rPr lang="ru-RU" sz="1400" b="0" dirty="0" smtClean="0"/>
                <a:t>Выявление рисков руководством Организации заключается в анализе ими возможных причин реализации рисков. </a:t>
              </a:r>
            </a:p>
            <a:p>
              <a:r>
                <a:rPr lang="ru-RU" sz="1400" b="0" dirty="0" smtClean="0"/>
                <a:t>Перечень возможных причин реализации рисков может определяться руководством Организации самостоятельно, с помощью должностного лица, на которое возложены обязанности по координации в Организации деятельности по осуществлению внутреннего финансового контроля или с помощью подразделения внутреннего аудита (внутреннего аудитора).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704851" y="2344431"/>
              <a:ext cx="2478433" cy="126960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0"/>
                </a:spcBef>
              </a:pPr>
              <a:r>
                <a:rPr lang="ru-RU" sz="2400" dirty="0" smtClean="0"/>
                <a:t>Руководство Организации</a:t>
              </a:r>
              <a:endParaRPr lang="ru-RU" sz="2092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cs typeface="Arial" pitchFamily="34" charset="0"/>
              </a:endParaRPr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5965404" y="2060848"/>
            <a:ext cx="5891236" cy="24929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ru-RU" sz="1800" dirty="0" smtClean="0">
                <a:solidFill>
                  <a:schemeClr val="accent1"/>
                </a:solidFill>
                <a:latin typeface="+mn-lt"/>
                <a:cs typeface="Arial" pitchFamily="34" charset="0"/>
              </a:rPr>
              <a:t>Возможные причины рисков</a:t>
            </a:r>
            <a:endParaRPr lang="ru-RU" sz="1800" dirty="0">
              <a:solidFill>
                <a:schemeClr val="accent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519936" y="1922585"/>
            <a:ext cx="6159454" cy="4386735"/>
          </a:xfrm>
          <a:prstGeom prst="rect">
            <a:avLst/>
          </a:prstGeom>
          <a:noFill/>
          <a:ln w="19050" cmpd="sng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615" tIns="0" rIns="88615" bIns="0" rtlCol="0" anchor="ctr"/>
          <a:lstStyle/>
          <a:p>
            <a:pPr algn="ctr">
              <a:lnSpc>
                <a:spcPct val="90000"/>
              </a:lnSpc>
              <a:spcBef>
                <a:spcPts val="369"/>
              </a:spcBef>
            </a:pPr>
            <a:endParaRPr lang="ru-RU" sz="1846" b="0" dirty="0">
              <a:solidFill>
                <a:schemeClr val="tx1"/>
              </a:solidFill>
              <a:cs typeface="Arial" pitchFamily="34" charset="0"/>
            </a:endParaRPr>
          </a:p>
        </p:txBody>
      </p:sp>
      <p:grpSp>
        <p:nvGrpSpPr>
          <p:cNvPr id="4" name="Группа 9"/>
          <p:cNvGrpSpPr/>
          <p:nvPr/>
        </p:nvGrpSpPr>
        <p:grpSpPr>
          <a:xfrm>
            <a:off x="5682005" y="2348880"/>
            <a:ext cx="5497633" cy="646333"/>
            <a:chOff x="5071293" y="3063981"/>
            <a:chExt cx="4466827" cy="525145"/>
          </a:xfrm>
        </p:grpSpPr>
        <p:sp>
          <p:nvSpPr>
            <p:cNvPr id="29" name="Прямоугольник 28"/>
            <p:cNvSpPr/>
            <p:nvPr/>
          </p:nvSpPr>
          <p:spPr>
            <a:xfrm>
              <a:off x="5597852" y="3063982"/>
              <a:ext cx="3940268" cy="5251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dirty="0" smtClean="0"/>
                <a:t>Отсутствие в Организации установленного порядка мониторинга внесения изменений в законодательство и информирования о них заинтересованных подразделений.</a:t>
              </a:r>
              <a:endParaRPr lang="ru-RU" sz="1200" b="0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5071293" y="3063981"/>
              <a:ext cx="701487" cy="3828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738"/>
                </a:spcBef>
                <a:spcAft>
                  <a:spcPts val="738"/>
                </a:spcAft>
              </a:pPr>
              <a:r>
                <a:rPr lang="ru-RU" sz="2462" dirty="0">
                  <a:solidFill>
                    <a:schemeClr val="tx2"/>
                  </a:solidFill>
                  <a:latin typeface="+mn-lt"/>
                </a:rPr>
                <a:t>01.</a:t>
              </a:r>
            </a:p>
          </p:txBody>
        </p:sp>
      </p:grpSp>
      <p:grpSp>
        <p:nvGrpSpPr>
          <p:cNvPr id="5" name="Группа 19"/>
          <p:cNvGrpSpPr/>
          <p:nvPr/>
        </p:nvGrpSpPr>
        <p:grpSpPr>
          <a:xfrm>
            <a:off x="5682005" y="2924944"/>
            <a:ext cx="5823532" cy="646336"/>
            <a:chOff x="4950947" y="2766112"/>
            <a:chExt cx="4731620" cy="525148"/>
          </a:xfrm>
        </p:grpSpPr>
        <p:sp>
          <p:nvSpPr>
            <p:cNvPr id="21" name="Прямоугольник 20"/>
            <p:cNvSpPr/>
            <p:nvPr/>
          </p:nvSpPr>
          <p:spPr>
            <a:xfrm>
              <a:off x="5477506" y="2766116"/>
              <a:ext cx="4205061" cy="5251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dirty="0" smtClean="0"/>
                <a:t>Излишне сложная система согласований при разработке внутренних правил, порядков, </a:t>
              </a:r>
              <a:r>
                <a:rPr lang="ru-RU" sz="1200" dirty="0" smtClean="0"/>
                <a:t>стандартов, </a:t>
              </a:r>
              <a:r>
                <a:rPr lang="ru-RU" sz="1200" dirty="0" smtClean="0"/>
                <a:t>отсутствие регламентации разрешения спорных ситуаций.</a:t>
              </a:r>
              <a:endParaRPr lang="ru-RU" sz="1200" dirty="0"/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4950947" y="2766112"/>
              <a:ext cx="701487" cy="3828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738"/>
                </a:spcBef>
                <a:spcAft>
                  <a:spcPts val="738"/>
                </a:spcAft>
              </a:pPr>
              <a:r>
                <a:rPr lang="ru-RU" sz="2462" dirty="0">
                  <a:solidFill>
                    <a:schemeClr val="tx2"/>
                  </a:solidFill>
                  <a:latin typeface="+mn-lt"/>
                </a:rPr>
                <a:t>02.</a:t>
              </a:r>
            </a:p>
          </p:txBody>
        </p:sp>
      </p:grpSp>
      <p:grpSp>
        <p:nvGrpSpPr>
          <p:cNvPr id="6" name="Группа 23"/>
          <p:cNvGrpSpPr/>
          <p:nvPr/>
        </p:nvGrpSpPr>
        <p:grpSpPr>
          <a:xfrm>
            <a:off x="5719343" y="3429000"/>
            <a:ext cx="5786193" cy="718324"/>
            <a:chOff x="5071293" y="3063981"/>
            <a:chExt cx="4701282" cy="583636"/>
          </a:xfrm>
        </p:grpSpPr>
        <p:sp>
          <p:nvSpPr>
            <p:cNvPr id="25" name="Прямоугольник 24"/>
            <p:cNvSpPr/>
            <p:nvPr/>
          </p:nvSpPr>
          <p:spPr>
            <a:xfrm>
              <a:off x="5567514" y="3122475"/>
              <a:ext cx="4205061" cy="5251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dirty="0" smtClean="0"/>
                <a:t>Неравномерное (несправедливое) распределение ответственности и полномочий между структурными подразделениями и сотрудниками Организации.</a:t>
              </a:r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5071293" y="3063981"/>
              <a:ext cx="701487" cy="3828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738"/>
                </a:spcBef>
                <a:spcAft>
                  <a:spcPts val="738"/>
                </a:spcAft>
              </a:pPr>
              <a:r>
                <a:rPr lang="ru-RU" sz="2462" dirty="0">
                  <a:solidFill>
                    <a:schemeClr val="tx2"/>
                  </a:solidFill>
                  <a:latin typeface="+mn-lt"/>
                </a:rPr>
                <a:t>03.</a:t>
              </a:r>
            </a:p>
          </p:txBody>
        </p:sp>
      </p:grpSp>
      <p:grpSp>
        <p:nvGrpSpPr>
          <p:cNvPr id="7" name="Группа 25"/>
          <p:cNvGrpSpPr/>
          <p:nvPr/>
        </p:nvGrpSpPr>
        <p:grpSpPr>
          <a:xfrm>
            <a:off x="5735960" y="4005064"/>
            <a:ext cx="5751523" cy="471218"/>
            <a:chOff x="5071293" y="3063981"/>
            <a:chExt cx="4673113" cy="382865"/>
          </a:xfrm>
        </p:grpSpPr>
        <p:sp>
          <p:nvSpPr>
            <p:cNvPr id="27" name="Прямоугольник 26"/>
            <p:cNvSpPr/>
            <p:nvPr/>
          </p:nvSpPr>
          <p:spPr>
            <a:xfrm>
              <a:off x="5539345" y="3121839"/>
              <a:ext cx="4205061" cy="22506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dirty="0" smtClean="0"/>
                <a:t>Значительный некомплект сотрудников</a:t>
              </a:r>
              <a:endParaRPr lang="ru-RU" sz="1200" dirty="0"/>
            </a:p>
          </p:txBody>
        </p:sp>
        <p:sp>
          <p:nvSpPr>
            <p:cNvPr id="30" name="Прямоугольник 29"/>
            <p:cNvSpPr/>
            <p:nvPr/>
          </p:nvSpPr>
          <p:spPr>
            <a:xfrm>
              <a:off x="5071293" y="3063981"/>
              <a:ext cx="701487" cy="3828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738"/>
                </a:spcBef>
                <a:spcAft>
                  <a:spcPts val="738"/>
                </a:spcAft>
              </a:pPr>
              <a:r>
                <a:rPr lang="ru-RU" sz="2462" dirty="0">
                  <a:solidFill>
                    <a:schemeClr val="tx2"/>
                  </a:solidFill>
                  <a:latin typeface="+mn-lt"/>
                </a:rPr>
                <a:t>04.</a:t>
              </a:r>
            </a:p>
          </p:txBody>
        </p:sp>
      </p:grpSp>
      <p:grpSp>
        <p:nvGrpSpPr>
          <p:cNvPr id="10" name="Группа 30"/>
          <p:cNvGrpSpPr/>
          <p:nvPr/>
        </p:nvGrpSpPr>
        <p:grpSpPr>
          <a:xfrm>
            <a:off x="5735960" y="4431265"/>
            <a:ext cx="5751523" cy="509903"/>
            <a:chOff x="5071293" y="3063981"/>
            <a:chExt cx="4673113" cy="414296"/>
          </a:xfrm>
        </p:grpSpPr>
        <p:sp>
          <p:nvSpPr>
            <p:cNvPr id="33" name="Прямоугольник 32"/>
            <p:cNvSpPr/>
            <p:nvPr/>
          </p:nvSpPr>
          <p:spPr>
            <a:xfrm>
              <a:off x="5539345" y="3103174"/>
              <a:ext cx="4205061" cy="3751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dirty="0" smtClean="0"/>
                <a:t>Неэффективная система материального и морального стимулирования</a:t>
              </a: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5071293" y="3063981"/>
              <a:ext cx="701487" cy="3828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738"/>
                </a:spcBef>
                <a:spcAft>
                  <a:spcPts val="738"/>
                </a:spcAft>
              </a:pPr>
              <a:r>
                <a:rPr lang="ru-RU" sz="2462" dirty="0" smtClean="0">
                  <a:solidFill>
                    <a:schemeClr val="tx2"/>
                  </a:solidFill>
                  <a:latin typeface="+mn-lt"/>
                </a:rPr>
                <a:t>05.</a:t>
              </a:r>
              <a:endParaRPr lang="ru-RU" sz="2462" dirty="0">
                <a:solidFill>
                  <a:schemeClr val="tx2"/>
                </a:solidFill>
                <a:latin typeface="+mn-lt"/>
              </a:endParaRPr>
            </a:p>
          </p:txBody>
        </p:sp>
      </p:grpSp>
      <p:grpSp>
        <p:nvGrpSpPr>
          <p:cNvPr id="11" name="Группа 30"/>
          <p:cNvGrpSpPr/>
          <p:nvPr/>
        </p:nvGrpSpPr>
        <p:grpSpPr>
          <a:xfrm>
            <a:off x="5735960" y="4869160"/>
            <a:ext cx="5751523" cy="694575"/>
            <a:chOff x="5071293" y="3063981"/>
            <a:chExt cx="4673113" cy="564343"/>
          </a:xfrm>
        </p:grpSpPr>
        <p:sp>
          <p:nvSpPr>
            <p:cNvPr id="26" name="Прямоугольник 25"/>
            <p:cNvSpPr/>
            <p:nvPr/>
          </p:nvSpPr>
          <p:spPr>
            <a:xfrm>
              <a:off x="5539345" y="3103179"/>
              <a:ext cx="4205061" cy="52514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dirty="0" smtClean="0"/>
                <a:t>Отсутствие системы периодического тестирования знаний сотрудников и руководителей подразделений по вопросам организации и выполнения </a:t>
              </a:r>
              <a:r>
                <a:rPr lang="ru-RU" sz="1200" dirty="0" smtClean="0"/>
                <a:t>закупочных процедур и операций.</a:t>
              </a:r>
              <a:endParaRPr lang="ru-RU" sz="1200" dirty="0" smtClean="0"/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5071293" y="3063981"/>
              <a:ext cx="701487" cy="3828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738"/>
                </a:spcBef>
                <a:spcAft>
                  <a:spcPts val="738"/>
                </a:spcAft>
              </a:pPr>
              <a:r>
                <a:rPr lang="ru-RU" sz="2462" dirty="0" smtClean="0">
                  <a:solidFill>
                    <a:schemeClr val="tx2"/>
                  </a:solidFill>
                  <a:latin typeface="+mn-lt"/>
                </a:rPr>
                <a:t>0</a:t>
              </a:r>
              <a:r>
                <a:rPr lang="en-US" sz="2462" dirty="0" smtClean="0">
                  <a:solidFill>
                    <a:schemeClr val="tx2"/>
                  </a:solidFill>
                  <a:latin typeface="+mn-lt"/>
                </a:rPr>
                <a:t>6</a:t>
              </a:r>
              <a:r>
                <a:rPr lang="ru-RU" sz="2462" dirty="0" smtClean="0">
                  <a:solidFill>
                    <a:schemeClr val="tx2"/>
                  </a:solidFill>
                  <a:latin typeface="+mn-lt"/>
                </a:rPr>
                <a:t>.</a:t>
              </a:r>
              <a:endParaRPr lang="ru-RU" sz="2462" dirty="0">
                <a:solidFill>
                  <a:schemeClr val="tx2"/>
                </a:solidFill>
                <a:latin typeface="+mn-lt"/>
              </a:endParaRPr>
            </a:p>
          </p:txBody>
        </p:sp>
      </p:grpSp>
      <p:grpSp>
        <p:nvGrpSpPr>
          <p:cNvPr id="35" name="Группа 30"/>
          <p:cNvGrpSpPr/>
          <p:nvPr/>
        </p:nvGrpSpPr>
        <p:grpSpPr>
          <a:xfrm>
            <a:off x="5735960" y="5511391"/>
            <a:ext cx="5751523" cy="509900"/>
            <a:chOff x="5071293" y="3063981"/>
            <a:chExt cx="4673113" cy="414293"/>
          </a:xfrm>
        </p:grpSpPr>
        <p:sp>
          <p:nvSpPr>
            <p:cNvPr id="36" name="Прямоугольник 35"/>
            <p:cNvSpPr/>
            <p:nvPr/>
          </p:nvSpPr>
          <p:spPr>
            <a:xfrm>
              <a:off x="5539345" y="3103172"/>
              <a:ext cx="4205061" cy="37510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dirty="0" smtClean="0"/>
                <a:t>Отсутствие обратных каналов связи сотрудников с руководством Организации</a:t>
              </a: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5071293" y="3063981"/>
              <a:ext cx="701487" cy="3828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738"/>
                </a:spcBef>
                <a:spcAft>
                  <a:spcPts val="738"/>
                </a:spcAft>
              </a:pPr>
              <a:r>
                <a:rPr lang="ru-RU" sz="2462" dirty="0" smtClean="0">
                  <a:solidFill>
                    <a:schemeClr val="tx2"/>
                  </a:solidFill>
                  <a:latin typeface="+mn-lt"/>
                </a:rPr>
                <a:t>07.</a:t>
              </a:r>
              <a:endParaRPr lang="ru-RU" sz="2462" dirty="0">
                <a:solidFill>
                  <a:schemeClr val="tx2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947108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имерный перечень мер по минимизации рисков</a:t>
            </a:r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623392" y="1556792"/>
            <a:ext cx="10657184" cy="4885953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ru-RU" sz="1600" b="0" dirty="0" smtClean="0"/>
              <a:t>Уточнение регламентов выполнения отдельных операций (процедур, действий)</a:t>
            </a:r>
          </a:p>
          <a:p>
            <a:endParaRPr lang="ru-RU" sz="1600" b="0" dirty="0" smtClean="0"/>
          </a:p>
          <a:p>
            <a:r>
              <a:rPr lang="ru-RU" sz="1600" b="0" dirty="0" smtClean="0"/>
              <a:t>Выполнение дополнительных контрольных действий в отношении операций (процедур, действий), которым сопутствуют риски, подлежащие минимизации</a:t>
            </a:r>
          </a:p>
          <a:p>
            <a:endParaRPr lang="ru-RU" sz="1600" b="0" dirty="0" smtClean="0"/>
          </a:p>
          <a:p>
            <a:r>
              <a:rPr lang="ru-RU" sz="1600" b="0" dirty="0" smtClean="0"/>
              <a:t>Проведение мероприятий перекрестного контроля в отношении закупочных процессов и процедур (операций)</a:t>
            </a:r>
          </a:p>
          <a:p>
            <a:endParaRPr lang="ru-RU" sz="1600" b="0" dirty="0" smtClean="0"/>
          </a:p>
          <a:p>
            <a:r>
              <a:rPr lang="ru-RU" sz="1600" b="0" dirty="0" smtClean="0"/>
              <a:t>Проведение организационно - штатных мероприятий</a:t>
            </a:r>
          </a:p>
          <a:p>
            <a:endParaRPr lang="ru-RU" sz="1600" b="0" dirty="0" smtClean="0"/>
          </a:p>
          <a:p>
            <a:r>
              <a:rPr lang="ru-RU" sz="1600" b="0" dirty="0" smtClean="0"/>
              <a:t>Повышение квалификации сотрудников, выполняющих операции (процедуры, действия), которым сопутствуют риски, подлежащие минимизации</a:t>
            </a:r>
          </a:p>
          <a:p>
            <a:endParaRPr lang="ru-RU" sz="1600" b="0" dirty="0" smtClean="0"/>
          </a:p>
          <a:p>
            <a:r>
              <a:rPr lang="ru-RU" sz="1600" b="0" dirty="0" smtClean="0"/>
              <a:t>Перераспределение обязанностей внутри структурного подразделения, деятельность которого сопряжена с рисками, подлежащими минимизации</a:t>
            </a:r>
          </a:p>
          <a:p>
            <a:endParaRPr lang="ru-RU" sz="1600" b="0" dirty="0" smtClean="0"/>
          </a:p>
          <a:p>
            <a:r>
              <a:rPr lang="ru-RU" sz="1600" b="0" dirty="0" smtClean="0"/>
              <a:t>Закупка оборудования, средств автоматизации, программного обеспечения, иных материальных и нематериальных активов, необходимых для минимизации риска</a:t>
            </a:r>
          </a:p>
          <a:p>
            <a:endParaRPr lang="ru-RU" sz="1600" b="0" dirty="0" smtClean="0"/>
          </a:p>
          <a:p>
            <a:r>
              <a:rPr lang="ru-RU" sz="1600" b="0" dirty="0" smtClean="0"/>
              <a:t>Иные меры, выполнение которых по мнению руководства Организации может привести к минимизации рисков</a:t>
            </a:r>
          </a:p>
          <a:p>
            <a:pPr>
              <a:lnSpc>
                <a:spcPct val="90000"/>
              </a:lnSpc>
              <a:spcBef>
                <a:spcPts val="0"/>
              </a:spcBef>
            </a:pPr>
            <a:endParaRPr lang="ru-RU" sz="1500" b="0" dirty="0" smtClean="0">
              <a:latin typeface="+mn-lt"/>
              <a:cs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07368" y="1412776"/>
            <a:ext cx="11449272" cy="5040559"/>
          </a:xfrm>
          <a:prstGeom prst="rect">
            <a:avLst/>
          </a:prstGeom>
          <a:noFill/>
          <a:ln w="19050" cmpd="sng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615" tIns="0" rIns="88615" bIns="0" rtlCol="0" anchor="ctr"/>
          <a:lstStyle/>
          <a:p>
            <a:pPr algn="ctr">
              <a:lnSpc>
                <a:spcPct val="90000"/>
              </a:lnSpc>
              <a:spcBef>
                <a:spcPts val="369"/>
              </a:spcBef>
            </a:pPr>
            <a:endParaRPr lang="ru-RU" sz="1846" b="0" dirty="0">
              <a:solidFill>
                <a:schemeClr val="tx1"/>
              </a:solidFill>
              <a:cs typeface="Arial" pitchFamily="34" charset="0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69wUdlOES9W1j.iSTDU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akR4W4Y0q.hEp29bnJ3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gyreV53UuQxyFaNbCmF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akR4W4Y0q.hEp29bnJ3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nh8md2102_x1DZVUkXx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akR4W4Y0q.hEp29bnJ3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jNDmchyEKjzFiLJZg7M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PHyuoAsE.WfpKbpzCqq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kcCHCYhkWTIiFVMB4tO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tjZZmatkShmFK7.iNAD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VZS4yJ60qPLbGnti2Kb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HkQZI6lE6dpOStDmb5P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BO91klUE6efw9mBOD7J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74Lt1pfEeuusKCiCw0P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YihxDE5kuGURPGQNXaB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vD57k2kkioNfvuRO01P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j1aONpTEqE1dUmS2alw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nnPd2UkkyemQ7VEdmVL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tJw2qYZkKcgu3gH5n07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7rphS760.dwShkznpIa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FLCClHJUiePClkAmyAf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TIfFQ86REWA20n7iS1ef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9R5_eF.UupMJ3jX9q84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Lq1BfX6UKd4PWOjJIWD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V94YnhPUyIX6w3ihMl_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yP7L7ra9EC.bEf6UELXD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IlOwkk8U6NkylWX2toY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qARlA5FUCfgMmLjRr1q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m3GnYTPUGGPI5GUHRp.A"/>
</p:tagLst>
</file>

<file path=ppt/theme/theme1.xml><?xml version="1.0" encoding="utf-8"?>
<a:theme xmlns:a="http://schemas.openxmlformats.org/drawingml/2006/main" name="A4rb_Premium">
  <a:themeElements>
    <a:clrScheme name="ГлавКонтроль">
      <a:dk1>
        <a:sysClr val="windowText" lastClr="000000"/>
      </a:dk1>
      <a:lt1>
        <a:sysClr val="window" lastClr="FFFFFF"/>
      </a:lt1>
      <a:dk2>
        <a:srgbClr val="2C4155"/>
      </a:dk2>
      <a:lt2>
        <a:srgbClr val="B39170"/>
      </a:lt2>
      <a:accent1>
        <a:srgbClr val="B12726"/>
      </a:accent1>
      <a:accent2>
        <a:srgbClr val="D48887"/>
      </a:accent2>
      <a:accent3>
        <a:srgbClr val="D0E1EA"/>
      </a:accent3>
      <a:accent4>
        <a:srgbClr val="6EA9C0"/>
      </a:accent4>
      <a:accent5>
        <a:srgbClr val="2E8FAB"/>
      </a:accent5>
      <a:accent6>
        <a:srgbClr val="2B657E"/>
      </a:accent6>
      <a:hlink>
        <a:srgbClr val="0070C0"/>
      </a:hlink>
      <a:folHlink>
        <a:srgbClr val="581312"/>
      </a:folHlink>
    </a:clrScheme>
    <a:fontScheme name="Другая 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 cmpd="sng">
          <a:solidFill>
            <a:schemeClr val="accent3"/>
          </a:solidFill>
        </a:ln>
        <a:effectLst/>
      </a:spPr>
      <a:bodyPr lIns="72000" tIns="0" rIns="72000" bIns="0" rtlCol="0" anchor="ctr"/>
      <a:lstStyle>
        <a:defPPr>
          <a:lnSpc>
            <a:spcPct val="90000"/>
          </a:lnSpc>
          <a:spcBef>
            <a:spcPts val="300"/>
          </a:spcBef>
          <a:defRPr sz="1500" b="0" dirty="0" smtClean="0">
            <a:solidFill>
              <a:schemeClr val="tx1"/>
            </a:solidFill>
            <a:latin typeface="+mn-lt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</a:ln>
      </a:spPr>
      <a:bodyPr wrap="square" lIns="0" tIns="0" rIns="0" bIns="0" rtlCol="0">
        <a:spAutoFit/>
      </a:bodyPr>
      <a:lstStyle>
        <a:defPPr>
          <a:lnSpc>
            <a:spcPct val="90000"/>
          </a:lnSpc>
          <a:spcBef>
            <a:spcPts val="0"/>
          </a:spcBef>
          <a:defRPr sz="1500" b="0" dirty="0" smtClean="0">
            <a:latin typeface="+mn-lt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4rb_Premium</Template>
  <TotalTime>2456</TotalTime>
  <Words>1154</Words>
  <Application>Microsoft Office PowerPoint</Application>
  <PresentationFormat>Произвольный</PresentationFormat>
  <Paragraphs>143</Paragraphs>
  <Slides>11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2" baseType="lpstr">
      <vt:lpstr>A4rb_Premium</vt:lpstr>
      <vt:lpstr>ОТЧЁТ</vt:lpstr>
      <vt:lpstr>Внутренний финансовый контроль и внутренний аудит</vt:lpstr>
      <vt:lpstr>Проект Минфина России и МБРР «Содействие совершенствованию системы государственных финансов РФ»</vt:lpstr>
      <vt:lpstr>Логика ВФК по 193 постановлению</vt:lpstr>
      <vt:lpstr>Логика ВФК согласно проекта Концепции</vt:lpstr>
      <vt:lpstr>ВФК в отношении процедур закупок.</vt:lpstr>
      <vt:lpstr>ВФК в отношении процедур закупок (2).</vt:lpstr>
      <vt:lpstr>ВФК в отношении процедур закупок (3).</vt:lpstr>
      <vt:lpstr>Примерный перечень мер по минимизации рисков</vt:lpstr>
      <vt:lpstr>Оценка ВФК внутренним аудитом</vt:lpstr>
      <vt:lpstr>КОНТАКТЫ</vt:lpstr>
    </vt:vector>
  </TitlesOfParts>
  <Company>Roland Berger Strategy Consultants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abina kulahmedova</dc:creator>
  <cp:lastModifiedBy>Vladimir V. Mikhev</cp:lastModifiedBy>
  <cp:revision>232</cp:revision>
  <dcterms:created xsi:type="dcterms:W3CDTF">2013-07-09T14:28:21Z</dcterms:created>
  <dcterms:modified xsi:type="dcterms:W3CDTF">2016-04-19T14:29:30Z</dcterms:modified>
  <cp:category>RB Template</cp:category>
  <cp:contentStatus>20120201</cp:contentStatus>
</cp:coreProperties>
</file>